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80" r:id="rId1"/>
  </p:sldMasterIdLst>
  <p:notesMasterIdLst>
    <p:notesMasterId r:id="rId10"/>
  </p:notesMasterIdLst>
  <p:sldIdLst>
    <p:sldId id="256" r:id="rId2"/>
    <p:sldId id="257" r:id="rId3"/>
    <p:sldId id="258" r:id="rId4"/>
    <p:sldId id="259" r:id="rId5"/>
    <p:sldId id="260" r:id="rId6"/>
    <p:sldId id="261" r:id="rId7"/>
    <p:sldId id="262" r:id="rId8"/>
    <p:sldId id="282" r:id="rId9"/>
  </p:sldIdLst>
  <p:sldSz cx="9144000" cy="6858000" type="screen4x3"/>
  <p:notesSz cx="6858000" cy="9144000"/>
  <p:embeddedFontLst>
    <p:embeddedFont>
      <p:font typeface="Bebas Neue" panose="020B0606020202050201" pitchFamily="34" charset="77"/>
      <p:regular r:id="rId11"/>
    </p:embeddedFont>
    <p:embeddedFont>
      <p:font typeface="Nunito" pitchFamily="2" charset="77"/>
      <p:regular r:id="rId12"/>
      <p:bold r:id="rId13"/>
      <p:italic r:id="rId14"/>
      <p:boldItalic r:id="rId15"/>
    </p:embeddedFont>
    <p:embeddedFont>
      <p:font typeface="Nunito Black" panose="020F0502020204030204" pitchFamily="34" charset="0"/>
      <p:bold r:id="rId16"/>
      <p:italic r:id="rId17"/>
      <p:boldItalic r:id="rId18"/>
    </p:embeddedFont>
    <p:embeddedFont>
      <p:font typeface="Space Mono" panose="02000509040000020004" pitchFamily="49" charset="77"/>
      <p:regular r:id="rId19"/>
      <p:bold r:id="rId20"/>
      <p:italic r:id="rId21"/>
      <p:boldItalic r:id="rId22"/>
    </p:embeddedFont>
  </p:embeddedFontLst>
  <p:custDataLst>
    <p:tags r:id="rId2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FCF95B4-7935-4480-B72A-820CA122EB4B}">
  <a:tblStyle styleId="{0FCF95B4-7935-4480-B72A-820CA122EB4B}"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46"/>
  </p:normalViewPr>
  <p:slideViewPr>
    <p:cSldViewPr snapToGrid="0" snapToObjects="1">
      <p:cViewPr varScale="1">
        <p:scale>
          <a:sx n="108" d="100"/>
          <a:sy n="108" d="100"/>
        </p:scale>
        <p:origin x="1760"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3.fntdata"/><Relationship Id="rId18" Type="http://schemas.openxmlformats.org/officeDocument/2006/relationships/font" Target="fonts/font8.fntdata"/><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font" Target="fonts/font11.fntdata"/><Relationship Id="rId7" Type="http://schemas.openxmlformats.org/officeDocument/2006/relationships/slide" Target="slides/slide6.xml"/><Relationship Id="rId12" Type="http://schemas.openxmlformats.org/officeDocument/2006/relationships/font" Target="fonts/font2.fntdata"/><Relationship Id="rId17" Type="http://schemas.openxmlformats.org/officeDocument/2006/relationships/font" Target="fonts/font7.fntdata"/><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font" Target="fonts/font6.fntdata"/><Relationship Id="rId20" Type="http://schemas.openxmlformats.org/officeDocument/2006/relationships/font" Target="fonts/font10.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1.fntdata"/><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font" Target="fonts/font5.fntdata"/><Relationship Id="rId23" Type="http://schemas.openxmlformats.org/officeDocument/2006/relationships/tags" Target="tags/tag1.xml"/><Relationship Id="rId10" Type="http://schemas.openxmlformats.org/officeDocument/2006/relationships/notesMaster" Target="notesMasters/notesMaster1.xml"/><Relationship Id="rId19" Type="http://schemas.openxmlformats.org/officeDocument/2006/relationships/font" Target="fonts/font9.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4.fntdata"/><Relationship Id="rId22" Type="http://schemas.openxmlformats.org/officeDocument/2006/relationships/font" Target="fonts/font12.fntdata"/><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309"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1"/>
        <p:cNvGrpSpPr/>
        <p:nvPr/>
      </p:nvGrpSpPr>
      <p:grpSpPr>
        <a:xfrm>
          <a:off x="0" y="0"/>
          <a:ext cx="0" cy="0"/>
          <a:chOff x="0" y="0"/>
          <a:chExt cx="0" cy="0"/>
        </a:xfrm>
      </p:grpSpPr>
      <p:sp>
        <p:nvSpPr>
          <p:cNvPr id="1192" name="Google Shape;1192;gad05b702a3_0_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93" name="Google Shape;1193;gad05b702a3_0_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0"/>
        <p:cNvGrpSpPr/>
        <p:nvPr/>
      </p:nvGrpSpPr>
      <p:grpSpPr>
        <a:xfrm>
          <a:off x="0" y="0"/>
          <a:ext cx="0" cy="0"/>
          <a:chOff x="0" y="0"/>
          <a:chExt cx="0" cy="0"/>
        </a:xfrm>
      </p:grpSpPr>
      <p:sp>
        <p:nvSpPr>
          <p:cNvPr id="1211" name="Google Shape;1211;gad03d1d72b_0_29693: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2" name="Google Shape;1212;gad03d1d72b_0_296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8"/>
        <p:cNvGrpSpPr/>
        <p:nvPr/>
      </p:nvGrpSpPr>
      <p:grpSpPr>
        <a:xfrm>
          <a:off x="0" y="0"/>
          <a:ext cx="0" cy="0"/>
          <a:chOff x="0" y="0"/>
          <a:chExt cx="0" cy="0"/>
        </a:xfrm>
      </p:grpSpPr>
      <p:sp>
        <p:nvSpPr>
          <p:cNvPr id="1219" name="Google Shape;1219;gad79a78160_0_215: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20" name="Google Shape;1220;gad79a78160_0_2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1600"/>
              </a:spcAft>
              <a:buClr>
                <a:schemeClr val="dk1"/>
              </a:buClr>
              <a:buSzPts val="1100"/>
              <a:buFont typeface="Arial"/>
              <a:buNone/>
            </a:pPr>
            <a:r>
              <a:rPr lang="en" sz="1200">
                <a:solidFill>
                  <a:srgbClr val="191919"/>
                </a:solidFill>
                <a:latin typeface="Nunito"/>
                <a:ea typeface="Nunito"/>
                <a:cs typeface="Nunito"/>
                <a:sym typeface="Nunito"/>
              </a:rPr>
              <a:t>We selected this topic because in a politically polarized society, understanding underlying drivers for political decisions may be useful in bringing about a more balanced and cooperative political culture.</a:t>
            </a:r>
            <a:endParaRPr sz="50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7"/>
        <p:cNvGrpSpPr/>
        <p:nvPr/>
      </p:nvGrpSpPr>
      <p:grpSpPr>
        <a:xfrm>
          <a:off x="0" y="0"/>
          <a:ext cx="0" cy="0"/>
          <a:chOff x="0" y="0"/>
          <a:chExt cx="0" cy="0"/>
        </a:xfrm>
      </p:grpSpPr>
      <p:sp>
        <p:nvSpPr>
          <p:cNvPr id="1238" name="Google Shape;1238;gad79a78160_0_25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9" name="Google Shape;1239;gad79a78160_0_25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r>
              <a:rPr lang="en" sz="1200">
                <a:solidFill>
                  <a:schemeClr val="dk1"/>
                </a:solidFill>
              </a:rPr>
              <a:t>Kuriwaki, Shiro complied voter survey data in .Rds file format for the years 2006–2018. The dataframe contains 452,755 rows (observations) and 73 columns (features), including geographic, demographic, economic, news interest, political affinity, and presidential choice variables.</a:t>
            </a:r>
            <a:endParaRPr sz="1200">
              <a:solidFill>
                <a:schemeClr val="dk1"/>
              </a:solidFill>
            </a:endParaRPr>
          </a:p>
          <a:p>
            <a:pPr marL="0" lvl="0" indent="0" algn="l" rtl="0">
              <a:lnSpc>
                <a:spcPct val="115000"/>
              </a:lnSpc>
              <a:spcBef>
                <a:spcPts val="1200"/>
              </a:spcBef>
              <a:spcAft>
                <a:spcPts val="0"/>
              </a:spcAft>
              <a:buClr>
                <a:schemeClr val="dk1"/>
              </a:buClr>
              <a:buSzPts val="1100"/>
              <a:buFont typeface="Arial"/>
              <a:buNone/>
            </a:pPr>
            <a:r>
              <a:rPr lang="en" sz="1200">
                <a:solidFill>
                  <a:schemeClr val="dk1"/>
                </a:solidFill>
              </a:rPr>
              <a:t>The data was drawn from Cooperative Congressional Election Study (CCES), one of the most comprehensive political surveys in the US.</a:t>
            </a:r>
            <a:endParaRPr sz="1200">
              <a:solidFill>
                <a:schemeClr val="dk1"/>
              </a:solidFill>
            </a:endParaRPr>
          </a:p>
          <a:p>
            <a:pPr marL="0" lvl="0" indent="0" algn="l" rtl="0">
              <a:spcBef>
                <a:spcPts val="120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0"/>
        <p:cNvGrpSpPr/>
        <p:nvPr/>
      </p:nvGrpSpPr>
      <p:grpSpPr>
        <a:xfrm>
          <a:off x="0" y="0"/>
          <a:ext cx="0" cy="0"/>
          <a:chOff x="0" y="0"/>
          <a:chExt cx="0" cy="0"/>
        </a:xfrm>
      </p:grpSpPr>
      <p:sp>
        <p:nvSpPr>
          <p:cNvPr id="1251" name="Google Shape;1251;ga3466d86ee_0_1152: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52" name="Google Shape;1252;ga3466d86ee_0_115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r>
              <a:rPr lang="en" sz="1200">
                <a:solidFill>
                  <a:schemeClr val="dk1"/>
                </a:solidFill>
                <a:latin typeface="Nunito"/>
                <a:ea typeface="Nunito"/>
                <a:cs typeface="Nunito"/>
                <a:sym typeface="Nunito"/>
              </a:rPr>
              <a:t>The data set is divided then joined along the following parameters from the CSV:</a:t>
            </a:r>
            <a:endParaRPr sz="1200">
              <a:solidFill>
                <a:schemeClr val="dk1"/>
              </a:solidFill>
              <a:latin typeface="Nunito"/>
              <a:ea typeface="Nunito"/>
              <a:cs typeface="Nunito"/>
              <a:sym typeface="Nunito"/>
            </a:endParaRPr>
          </a:p>
          <a:p>
            <a:pPr marL="0" lvl="0" indent="0" algn="l" rtl="0">
              <a:lnSpc>
                <a:spcPct val="115000"/>
              </a:lnSpc>
              <a:spcBef>
                <a:spcPts val="1200"/>
              </a:spcBef>
              <a:spcAft>
                <a:spcPts val="0"/>
              </a:spcAft>
              <a:buClr>
                <a:schemeClr val="dk1"/>
              </a:buClr>
              <a:buSzPts val="1100"/>
              <a:buFont typeface="Arial"/>
              <a:buNone/>
            </a:pPr>
            <a:r>
              <a:rPr lang="en" sz="1200">
                <a:solidFill>
                  <a:schemeClr val="dk1"/>
                </a:solidFill>
                <a:latin typeface="Nunito"/>
                <a:ea typeface="Nunito"/>
                <a:cs typeface="Nunito"/>
                <a:sym typeface="Nunito"/>
              </a:rPr>
              <a:t>A-AV --&gt; Voter_information AC --&gt;AB-AC--&gt;Ideological Leaning E-T --&gt; Location_info/District_info U-AC--&gt;Ideological Information AW--&gt;Voter_opinion/choice BH-BK--&gt;Candidate_info</a:t>
            </a:r>
            <a:endParaRPr sz="1200">
              <a:solidFill>
                <a:schemeClr val="dk1"/>
              </a:solidFill>
              <a:latin typeface="Nunito"/>
              <a:ea typeface="Nunito"/>
              <a:cs typeface="Nunito"/>
              <a:sym typeface="Nunito"/>
            </a:endParaRPr>
          </a:p>
          <a:p>
            <a:pPr marL="0" lvl="0" indent="0" algn="l" rtl="0">
              <a:lnSpc>
                <a:spcPct val="115000"/>
              </a:lnSpc>
              <a:spcBef>
                <a:spcPts val="1200"/>
              </a:spcBef>
              <a:spcAft>
                <a:spcPts val="0"/>
              </a:spcAft>
              <a:buClr>
                <a:schemeClr val="dk1"/>
              </a:buClr>
              <a:buSzPts val="1100"/>
              <a:buFont typeface="Arial"/>
              <a:buNone/>
            </a:pPr>
            <a:endParaRPr sz="1200">
              <a:solidFill>
                <a:schemeClr val="dk1"/>
              </a:solidFill>
              <a:latin typeface="Nunito"/>
              <a:ea typeface="Nunito"/>
              <a:cs typeface="Nunito"/>
              <a:sym typeface="Nunito"/>
            </a:endParaRPr>
          </a:p>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0"/>
        <p:cNvGrpSpPr/>
        <p:nvPr/>
      </p:nvGrpSpPr>
      <p:grpSpPr>
        <a:xfrm>
          <a:off x="0" y="0"/>
          <a:ext cx="0" cy="0"/>
          <a:chOff x="0" y="0"/>
          <a:chExt cx="0" cy="0"/>
        </a:xfrm>
      </p:grpSpPr>
      <p:sp>
        <p:nvSpPr>
          <p:cNvPr id="1271" name="Google Shape;1271;ga3466d86ee_0_495: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72" name="Google Shape;1272;ga3466d86ee_0_4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r>
              <a:rPr lang="en" sz="1200">
                <a:solidFill>
                  <a:schemeClr val="dk1"/>
                </a:solidFill>
                <a:latin typeface="Nunito"/>
                <a:ea typeface="Nunito"/>
                <a:cs typeface="Nunito"/>
                <a:sym typeface="Nunito"/>
              </a:rPr>
              <a:t>Data Exploration and preprocessing:</a:t>
            </a:r>
            <a:endParaRPr sz="1200">
              <a:solidFill>
                <a:schemeClr val="dk1"/>
              </a:solidFill>
              <a:latin typeface="Nunito"/>
              <a:ea typeface="Nunito"/>
              <a:cs typeface="Nunito"/>
              <a:sym typeface="Nunito"/>
            </a:endParaRPr>
          </a:p>
          <a:p>
            <a:pPr marL="0" lvl="0" indent="0" algn="l" rtl="0">
              <a:lnSpc>
                <a:spcPct val="115000"/>
              </a:lnSpc>
              <a:spcBef>
                <a:spcPts val="1200"/>
              </a:spcBef>
              <a:spcAft>
                <a:spcPts val="0"/>
              </a:spcAft>
              <a:buClr>
                <a:schemeClr val="dk1"/>
              </a:buClr>
              <a:buSzPts val="1100"/>
              <a:buFont typeface="Arial"/>
              <a:buNone/>
            </a:pPr>
            <a:r>
              <a:rPr lang="en" sz="1200">
                <a:solidFill>
                  <a:schemeClr val="dk1"/>
                </a:solidFill>
                <a:latin typeface="Nunito"/>
                <a:ea typeface="Nunito"/>
                <a:cs typeface="Nunito"/>
                <a:sym typeface="Nunito"/>
              </a:rPr>
              <a:t>We will refine the data for the most recent survey year of 2018, which holds 60,000 rows and 93 features. The data pertains to voter information, ideological leaning, voter opinion, and candidate information. For the machine learning model, we will be using the following features in a dataframe:</a:t>
            </a:r>
            <a:endParaRPr sz="1200">
              <a:solidFill>
                <a:schemeClr val="dk1"/>
              </a:solidFill>
              <a:latin typeface="Nunito"/>
              <a:ea typeface="Nunito"/>
              <a:cs typeface="Nunito"/>
              <a:sym typeface="Nunito"/>
            </a:endParaRPr>
          </a:p>
          <a:p>
            <a:pPr marL="0" lvl="0" indent="0" algn="l" rtl="0">
              <a:lnSpc>
                <a:spcPct val="115000"/>
              </a:lnSpc>
              <a:spcBef>
                <a:spcPts val="1200"/>
              </a:spcBef>
              <a:spcAft>
                <a:spcPts val="0"/>
              </a:spcAft>
              <a:buClr>
                <a:schemeClr val="dk1"/>
              </a:buClr>
              <a:buSzPts val="1100"/>
              <a:buFont typeface="Arial"/>
              <a:buNone/>
            </a:pPr>
            <a:r>
              <a:rPr lang="en" sz="1200">
                <a:solidFill>
                  <a:schemeClr val="dk1"/>
                </a:solidFill>
                <a:latin typeface="Nunito"/>
                <a:ea typeface="Nunito"/>
                <a:cs typeface="Nunito"/>
                <a:sym typeface="Nunito"/>
              </a:rPr>
              <a:t>State, district, cong., geography, gender, birthyear, age, education, race, family income, marital status, news interests, ideology, and presidential vote for 2016. Since the database contains a lot of features with categorical data, then one-hot encode those variables into dummy sets (Using the dummy_cols and fastDummies packages).</a:t>
            </a:r>
            <a:endParaRPr sz="1200">
              <a:solidFill>
                <a:schemeClr val="dk1"/>
              </a:solidFill>
              <a:latin typeface="Nunito"/>
              <a:ea typeface="Nunito"/>
              <a:cs typeface="Nunito"/>
              <a:sym typeface="Nunito"/>
            </a:endParaRPr>
          </a:p>
          <a:p>
            <a:pPr marL="0" lvl="0" indent="0" algn="l" rtl="0">
              <a:lnSpc>
                <a:spcPct val="115000"/>
              </a:lnSpc>
              <a:spcBef>
                <a:spcPts val="1200"/>
              </a:spcBef>
              <a:spcAft>
                <a:spcPts val="0"/>
              </a:spcAft>
              <a:buClr>
                <a:schemeClr val="dk1"/>
              </a:buClr>
              <a:buSzPts val="1100"/>
              <a:buFont typeface="Arial"/>
              <a:buNone/>
            </a:pPr>
            <a:r>
              <a:rPr lang="en" sz="1200">
                <a:solidFill>
                  <a:schemeClr val="dk1"/>
                </a:solidFill>
                <a:latin typeface="Nunito"/>
                <a:ea typeface="Nunito"/>
                <a:cs typeface="Nunito"/>
                <a:sym typeface="Nunito"/>
              </a:rPr>
              <a:t>After the features have been given a numeric value, the output features which is the 2016 presidential vote will be removed from the dataframe. The data is separated into training and test sets, the model is then trained.</a:t>
            </a:r>
            <a:endParaRPr sz="1200">
              <a:solidFill>
                <a:schemeClr val="dk1"/>
              </a:solidFill>
              <a:latin typeface="Nunito"/>
              <a:ea typeface="Nunito"/>
              <a:cs typeface="Nunito"/>
              <a:sym typeface="Nunito"/>
            </a:endParaRPr>
          </a:p>
          <a:p>
            <a:pPr marL="0" lvl="0" indent="0" algn="l" rtl="0">
              <a:lnSpc>
                <a:spcPct val="115000"/>
              </a:lnSpc>
              <a:spcBef>
                <a:spcPts val="1200"/>
              </a:spcBef>
              <a:spcAft>
                <a:spcPts val="0"/>
              </a:spcAft>
              <a:buClr>
                <a:schemeClr val="dk1"/>
              </a:buClr>
              <a:buSzPts val="1100"/>
              <a:buFont typeface="Arial"/>
              <a:buNone/>
            </a:pPr>
            <a:r>
              <a:rPr lang="en" sz="1200">
                <a:solidFill>
                  <a:schemeClr val="dk1"/>
                </a:solidFill>
              </a:rPr>
              <a:t>For the input layer of the model, the activation function is ReLu (Rectified Linear Unit) since this is a category classification, it will be comprised of 148 variables fed to a neuron. For the hidden layer the activation function that was used is softmax. For compiling and training the model, the optimizer algorithm used is adam and the loss function that is used is sparse categorical crossentropy. The model will also have 20% of its training data for the model to iteratively calculate validation errors. 500 epochs are chosen for lastly the algorithm will stop if the test model performance doesn’t increase for 20 continuous epochs. The output layer will consist of five categories (in accordance with the survey question structure): voted Trump, voted Hillary Clinton, Voted Other, Did not Vote, and Not Sure/Don't Recall.</a:t>
            </a:r>
            <a:endParaRPr sz="1200">
              <a:solidFill>
                <a:schemeClr val="dk1"/>
              </a:solidFill>
              <a:latin typeface="Nunito"/>
              <a:ea typeface="Nunito"/>
              <a:cs typeface="Nunito"/>
              <a:sym typeface="Nunito"/>
            </a:endParaRPr>
          </a:p>
          <a:p>
            <a:pPr marL="0" lvl="0" indent="0" algn="l" rtl="0">
              <a:lnSpc>
                <a:spcPct val="115000"/>
              </a:lnSpc>
              <a:spcBef>
                <a:spcPts val="1200"/>
              </a:spcBef>
              <a:spcAft>
                <a:spcPts val="0"/>
              </a:spcAft>
              <a:buClr>
                <a:schemeClr val="dk1"/>
              </a:buClr>
              <a:buSzPts val="1100"/>
              <a:buFont typeface="Arial"/>
              <a:buNone/>
            </a:pPr>
            <a:endParaRPr sz="1200">
              <a:solidFill>
                <a:srgbClr val="191919"/>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6"/>
        <p:cNvGrpSpPr/>
        <p:nvPr/>
      </p:nvGrpSpPr>
      <p:grpSpPr>
        <a:xfrm>
          <a:off x="0" y="0"/>
          <a:ext cx="0" cy="0"/>
          <a:chOff x="0" y="0"/>
          <a:chExt cx="0" cy="0"/>
        </a:xfrm>
      </p:grpSpPr>
      <p:sp>
        <p:nvSpPr>
          <p:cNvPr id="1287" name="Google Shape;1287;gd1a89e3629_0_36: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8" name="Google Shape;1288;gd1a89e3629_0_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r>
              <a:rPr lang="en" sz="1200">
                <a:solidFill>
                  <a:schemeClr val="dk1"/>
                </a:solidFill>
              </a:rPr>
              <a:t>For the input layer of the model, the activation function is ReLu (Rectified Linear Unit) since this is a category classification, it will be comprised of 148 variables fed to a neuron. For the hidden layer the activation function that was used is softmax. For compiling and training the model, the optimizer algorithm used is adam and the loss function that is used is sparse categorical crossentropy. The model will also have 20% of its training data for the model to iteratively calculate validation errors. 500 epochs are chosen for lastly the algorithm will stop if the test model performance doesn’t increase for 20 continuous epochs. The output layer will consist of five categories (in accordance with the survey question structure): voted Trump, voted Hillary Clinton, Voted Other, Did not Vote, and Not Sure/Don't Recall.</a:t>
            </a:r>
            <a:endParaRPr sz="1200">
              <a:solidFill>
                <a:schemeClr val="dk1"/>
              </a:solidFill>
              <a:latin typeface="Nunito"/>
              <a:ea typeface="Nunito"/>
              <a:cs typeface="Nunito"/>
              <a:sym typeface="Nunito"/>
            </a:endParaRPr>
          </a:p>
          <a:p>
            <a:pPr marL="0" lvl="0" indent="0" algn="l" rtl="0">
              <a:lnSpc>
                <a:spcPct val="115000"/>
              </a:lnSpc>
              <a:spcBef>
                <a:spcPts val="120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8"/>
        <p:cNvGrpSpPr/>
        <p:nvPr/>
      </p:nvGrpSpPr>
      <p:grpSpPr>
        <a:xfrm>
          <a:off x="0" y="0"/>
          <a:ext cx="0" cy="0"/>
          <a:chOff x="0" y="0"/>
          <a:chExt cx="0" cy="0"/>
        </a:xfrm>
      </p:grpSpPr>
      <p:sp>
        <p:nvSpPr>
          <p:cNvPr id="2299" name="Google Shape;2299;ga32a758769_0_0: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00" name="Google Shape;2300;ga32a758769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slide" Target="../slides/slide1.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bg>
      <p:bgPr>
        <a:solidFill>
          <a:schemeClr val="lt2"/>
        </a:solidFill>
        <a:effectLst/>
      </p:bgPr>
    </p:bg>
    <p:spTree>
      <p:nvGrpSpPr>
        <p:cNvPr id="1" name="Shape 8"/>
        <p:cNvGrpSpPr/>
        <p:nvPr/>
      </p:nvGrpSpPr>
      <p:grpSpPr>
        <a:xfrm>
          <a:off x="0" y="0"/>
          <a:ext cx="0" cy="0"/>
          <a:chOff x="0" y="0"/>
          <a:chExt cx="0" cy="0"/>
        </a:xfrm>
      </p:grpSpPr>
      <p:sp>
        <p:nvSpPr>
          <p:cNvPr id="9" name="Google Shape;9;p2"/>
          <p:cNvSpPr/>
          <p:nvPr/>
        </p:nvSpPr>
        <p:spPr>
          <a:xfrm rot="10800000">
            <a:off x="6412648" y="-55200"/>
            <a:ext cx="2756700" cy="6968400"/>
          </a:xfrm>
          <a:prstGeom prst="rtTriangle">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10;p2"/>
          <p:cNvSpPr txBox="1">
            <a:spLocks noGrp="1"/>
          </p:cNvSpPr>
          <p:nvPr>
            <p:ph type="ctrTitle"/>
          </p:nvPr>
        </p:nvSpPr>
        <p:spPr>
          <a:xfrm>
            <a:off x="720000" y="2231286"/>
            <a:ext cx="5655900" cy="2845200"/>
          </a:xfrm>
          <a:prstGeom prst="rect">
            <a:avLst/>
          </a:prstGeom>
        </p:spPr>
        <p:txBody>
          <a:bodyPr spcFirstLastPara="1" wrap="square" lIns="91425" tIns="91425" rIns="91425" bIns="91425" anchor="b" anchorCtr="0">
            <a:noAutofit/>
          </a:bodyPr>
          <a:lstStyle>
            <a:lvl1pPr lvl="0">
              <a:spcBef>
                <a:spcPts val="0"/>
              </a:spcBef>
              <a:spcAft>
                <a:spcPts val="0"/>
              </a:spcAft>
              <a:buClr>
                <a:srgbClr val="191919"/>
              </a:buClr>
              <a:buSzPts val="5200"/>
              <a:buNone/>
              <a:defRPr sz="5200" b="1">
                <a:solidFill>
                  <a:srgbClr val="191919"/>
                </a:solidFill>
                <a:latin typeface="Space Mono"/>
                <a:ea typeface="Space Mono"/>
                <a:cs typeface="Space Mono"/>
                <a:sym typeface="Space Mono"/>
              </a:defRPr>
            </a:lvl1pPr>
            <a:lvl2pPr lvl="1" algn="ctr">
              <a:spcBef>
                <a:spcPts val="0"/>
              </a:spcBef>
              <a:spcAft>
                <a:spcPts val="0"/>
              </a:spcAft>
              <a:buClr>
                <a:srgbClr val="191919"/>
              </a:buClr>
              <a:buSzPts val="5200"/>
              <a:buNone/>
              <a:defRPr sz="5200">
                <a:solidFill>
                  <a:srgbClr val="191919"/>
                </a:solidFill>
              </a:defRPr>
            </a:lvl2pPr>
            <a:lvl3pPr lvl="2" algn="ctr">
              <a:spcBef>
                <a:spcPts val="0"/>
              </a:spcBef>
              <a:spcAft>
                <a:spcPts val="0"/>
              </a:spcAft>
              <a:buClr>
                <a:srgbClr val="191919"/>
              </a:buClr>
              <a:buSzPts val="5200"/>
              <a:buNone/>
              <a:defRPr sz="5200">
                <a:solidFill>
                  <a:srgbClr val="191919"/>
                </a:solidFill>
              </a:defRPr>
            </a:lvl3pPr>
            <a:lvl4pPr lvl="3" algn="ctr">
              <a:spcBef>
                <a:spcPts val="0"/>
              </a:spcBef>
              <a:spcAft>
                <a:spcPts val="0"/>
              </a:spcAft>
              <a:buClr>
                <a:srgbClr val="191919"/>
              </a:buClr>
              <a:buSzPts val="5200"/>
              <a:buNone/>
              <a:defRPr sz="5200">
                <a:solidFill>
                  <a:srgbClr val="191919"/>
                </a:solidFill>
              </a:defRPr>
            </a:lvl4pPr>
            <a:lvl5pPr lvl="4" algn="ctr">
              <a:spcBef>
                <a:spcPts val="0"/>
              </a:spcBef>
              <a:spcAft>
                <a:spcPts val="0"/>
              </a:spcAft>
              <a:buClr>
                <a:srgbClr val="191919"/>
              </a:buClr>
              <a:buSzPts val="5200"/>
              <a:buNone/>
              <a:defRPr sz="5200">
                <a:solidFill>
                  <a:srgbClr val="191919"/>
                </a:solidFill>
              </a:defRPr>
            </a:lvl5pPr>
            <a:lvl6pPr lvl="5" algn="ctr">
              <a:spcBef>
                <a:spcPts val="0"/>
              </a:spcBef>
              <a:spcAft>
                <a:spcPts val="0"/>
              </a:spcAft>
              <a:buClr>
                <a:srgbClr val="191919"/>
              </a:buClr>
              <a:buSzPts val="5200"/>
              <a:buNone/>
              <a:defRPr sz="5200">
                <a:solidFill>
                  <a:srgbClr val="191919"/>
                </a:solidFill>
              </a:defRPr>
            </a:lvl6pPr>
            <a:lvl7pPr lvl="6" algn="ctr">
              <a:spcBef>
                <a:spcPts val="0"/>
              </a:spcBef>
              <a:spcAft>
                <a:spcPts val="0"/>
              </a:spcAft>
              <a:buClr>
                <a:srgbClr val="191919"/>
              </a:buClr>
              <a:buSzPts val="5200"/>
              <a:buNone/>
              <a:defRPr sz="5200">
                <a:solidFill>
                  <a:srgbClr val="191919"/>
                </a:solidFill>
              </a:defRPr>
            </a:lvl7pPr>
            <a:lvl8pPr lvl="7" algn="ctr">
              <a:spcBef>
                <a:spcPts val="0"/>
              </a:spcBef>
              <a:spcAft>
                <a:spcPts val="0"/>
              </a:spcAft>
              <a:buClr>
                <a:srgbClr val="191919"/>
              </a:buClr>
              <a:buSzPts val="5200"/>
              <a:buNone/>
              <a:defRPr sz="5200">
                <a:solidFill>
                  <a:srgbClr val="191919"/>
                </a:solidFill>
              </a:defRPr>
            </a:lvl8pPr>
            <a:lvl9pPr lvl="8" algn="ctr">
              <a:spcBef>
                <a:spcPts val="0"/>
              </a:spcBef>
              <a:spcAft>
                <a:spcPts val="0"/>
              </a:spcAft>
              <a:buClr>
                <a:srgbClr val="191919"/>
              </a:buClr>
              <a:buSzPts val="5200"/>
              <a:buNone/>
              <a:defRPr sz="5200">
                <a:solidFill>
                  <a:srgbClr val="191919"/>
                </a:solidFill>
              </a:defRPr>
            </a:lvl9pPr>
          </a:lstStyle>
          <a:p>
            <a:endParaRPr/>
          </a:p>
        </p:txBody>
      </p:sp>
      <p:sp>
        <p:nvSpPr>
          <p:cNvPr id="11" name="Google Shape;11;p2"/>
          <p:cNvSpPr txBox="1">
            <a:spLocks noGrp="1"/>
          </p:cNvSpPr>
          <p:nvPr>
            <p:ph type="subTitle" idx="1"/>
          </p:nvPr>
        </p:nvSpPr>
        <p:spPr>
          <a:xfrm>
            <a:off x="720000" y="5125788"/>
            <a:ext cx="5655900" cy="578400"/>
          </a:xfrm>
          <a:prstGeom prst="rect">
            <a:avLst/>
          </a:prstGeom>
        </p:spPr>
        <p:txBody>
          <a:bodyPr spcFirstLastPara="1" wrap="square" lIns="91425" tIns="91425" rIns="91425" bIns="91425" anchor="t" anchorCtr="0">
            <a:noAutofit/>
          </a:bodyPr>
          <a:lstStyle>
            <a:lvl1pPr lvl="0">
              <a:lnSpc>
                <a:spcPct val="100000"/>
              </a:lnSpc>
              <a:spcBef>
                <a:spcPts val="0"/>
              </a:spcBef>
              <a:spcAft>
                <a:spcPts val="0"/>
              </a:spcAft>
              <a:buSzPts val="1400"/>
              <a:buNone/>
              <a:defRPr>
                <a:solidFill>
                  <a:schemeClr val="accent3"/>
                </a:solidFill>
                <a:latin typeface="Nunito"/>
                <a:ea typeface="Nunito"/>
                <a:cs typeface="Nunito"/>
                <a:sym typeface="Nunito"/>
              </a:defRPr>
            </a:lvl1pPr>
            <a:lvl2pPr lvl="1" algn="ctr">
              <a:lnSpc>
                <a:spcPct val="100000"/>
              </a:lnSpc>
              <a:spcBef>
                <a:spcPts val="0"/>
              </a:spcBef>
              <a:spcAft>
                <a:spcPts val="0"/>
              </a:spcAft>
              <a:buSzPts val="1800"/>
              <a:buNone/>
              <a:defRPr sz="1800"/>
            </a:lvl2pPr>
            <a:lvl3pPr lvl="2" algn="ctr">
              <a:lnSpc>
                <a:spcPct val="100000"/>
              </a:lnSpc>
              <a:spcBef>
                <a:spcPts val="0"/>
              </a:spcBef>
              <a:spcAft>
                <a:spcPts val="0"/>
              </a:spcAft>
              <a:buSzPts val="1800"/>
              <a:buNone/>
              <a:defRPr sz="1800"/>
            </a:lvl3pPr>
            <a:lvl4pPr lvl="3" algn="ctr">
              <a:lnSpc>
                <a:spcPct val="100000"/>
              </a:lnSpc>
              <a:spcBef>
                <a:spcPts val="0"/>
              </a:spcBef>
              <a:spcAft>
                <a:spcPts val="0"/>
              </a:spcAft>
              <a:buSzPts val="1800"/>
              <a:buNone/>
              <a:defRPr sz="1800"/>
            </a:lvl4pPr>
            <a:lvl5pPr lvl="4" algn="ctr">
              <a:lnSpc>
                <a:spcPct val="100000"/>
              </a:lnSpc>
              <a:spcBef>
                <a:spcPts val="0"/>
              </a:spcBef>
              <a:spcAft>
                <a:spcPts val="0"/>
              </a:spcAft>
              <a:buSzPts val="1800"/>
              <a:buNone/>
              <a:defRPr sz="1800"/>
            </a:lvl5pPr>
            <a:lvl6pPr lvl="5" algn="ctr">
              <a:lnSpc>
                <a:spcPct val="100000"/>
              </a:lnSpc>
              <a:spcBef>
                <a:spcPts val="0"/>
              </a:spcBef>
              <a:spcAft>
                <a:spcPts val="0"/>
              </a:spcAft>
              <a:buSzPts val="1800"/>
              <a:buNone/>
              <a:defRPr sz="1800"/>
            </a:lvl6pPr>
            <a:lvl7pPr lvl="6" algn="ctr">
              <a:lnSpc>
                <a:spcPct val="100000"/>
              </a:lnSpc>
              <a:spcBef>
                <a:spcPts val="0"/>
              </a:spcBef>
              <a:spcAft>
                <a:spcPts val="0"/>
              </a:spcAft>
              <a:buSzPts val="1800"/>
              <a:buNone/>
              <a:defRPr sz="1800"/>
            </a:lvl7pPr>
            <a:lvl8pPr lvl="7" algn="ctr">
              <a:lnSpc>
                <a:spcPct val="100000"/>
              </a:lnSpc>
              <a:spcBef>
                <a:spcPts val="0"/>
              </a:spcBef>
              <a:spcAft>
                <a:spcPts val="0"/>
              </a:spcAft>
              <a:buSzPts val="1800"/>
              <a:buNone/>
              <a:defRPr sz="1800"/>
            </a:lvl8pPr>
            <a:lvl9pPr lvl="8" algn="ctr">
              <a:lnSpc>
                <a:spcPct val="100000"/>
              </a:lnSpc>
              <a:spcBef>
                <a:spcPts val="0"/>
              </a:spcBef>
              <a:spcAft>
                <a:spcPts val="0"/>
              </a:spcAft>
              <a:buSzPts val="1800"/>
              <a:buNone/>
              <a:defRPr sz="1800"/>
            </a:lvl9pPr>
          </a:lstStyle>
          <a:p>
            <a:endParaRPr/>
          </a:p>
        </p:txBody>
      </p:sp>
      <p:sp>
        <p:nvSpPr>
          <p:cNvPr id="12" name="Google Shape;12;p2"/>
          <p:cNvSpPr txBox="1">
            <a:spLocks noGrp="1"/>
          </p:cNvSpPr>
          <p:nvPr>
            <p:ph type="subTitle" idx="2"/>
          </p:nvPr>
        </p:nvSpPr>
        <p:spPr>
          <a:xfrm>
            <a:off x="882350" y="720000"/>
            <a:ext cx="1106700" cy="462000"/>
          </a:xfrm>
          <a:prstGeom prst="rect">
            <a:avLst/>
          </a:prstGeom>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lvl1pPr lvl="0" algn="ctr" rtl="0">
              <a:lnSpc>
                <a:spcPct val="100000"/>
              </a:lnSpc>
              <a:spcBef>
                <a:spcPts val="0"/>
              </a:spcBef>
              <a:spcAft>
                <a:spcPts val="0"/>
              </a:spcAft>
              <a:buClr>
                <a:schemeClr val="dk2"/>
              </a:buClr>
              <a:buSzPts val="1100"/>
              <a:buNone/>
              <a:defRPr sz="950">
                <a:solidFill>
                  <a:schemeClr val="dk2"/>
                </a:solidFill>
                <a:latin typeface="Nunito Black"/>
                <a:ea typeface="Nunito Black"/>
                <a:cs typeface="Nunito Black"/>
                <a:sym typeface="Nunito Black"/>
              </a:defRPr>
            </a:lvl1pPr>
            <a:lvl2pPr lvl="1" algn="ctr" rtl="0">
              <a:lnSpc>
                <a:spcPct val="100000"/>
              </a:lnSpc>
              <a:spcBef>
                <a:spcPts val="0"/>
              </a:spcBef>
              <a:spcAft>
                <a:spcPts val="0"/>
              </a:spcAft>
              <a:buClr>
                <a:schemeClr val="dk2"/>
              </a:buClr>
              <a:buSzPts val="1100"/>
              <a:buNone/>
              <a:defRPr sz="1100" b="1">
                <a:solidFill>
                  <a:schemeClr val="dk2"/>
                </a:solidFill>
              </a:defRPr>
            </a:lvl2pPr>
            <a:lvl3pPr lvl="2" algn="ctr" rtl="0">
              <a:lnSpc>
                <a:spcPct val="100000"/>
              </a:lnSpc>
              <a:spcBef>
                <a:spcPts val="0"/>
              </a:spcBef>
              <a:spcAft>
                <a:spcPts val="0"/>
              </a:spcAft>
              <a:buClr>
                <a:schemeClr val="dk2"/>
              </a:buClr>
              <a:buSzPts val="1100"/>
              <a:buNone/>
              <a:defRPr sz="1100" b="1">
                <a:solidFill>
                  <a:schemeClr val="dk2"/>
                </a:solidFill>
              </a:defRPr>
            </a:lvl3pPr>
            <a:lvl4pPr lvl="3" algn="ctr" rtl="0">
              <a:lnSpc>
                <a:spcPct val="100000"/>
              </a:lnSpc>
              <a:spcBef>
                <a:spcPts val="0"/>
              </a:spcBef>
              <a:spcAft>
                <a:spcPts val="0"/>
              </a:spcAft>
              <a:buClr>
                <a:schemeClr val="dk2"/>
              </a:buClr>
              <a:buSzPts val="1100"/>
              <a:buNone/>
              <a:defRPr sz="1100" b="1">
                <a:solidFill>
                  <a:schemeClr val="dk2"/>
                </a:solidFill>
              </a:defRPr>
            </a:lvl4pPr>
            <a:lvl5pPr lvl="4" algn="ctr" rtl="0">
              <a:lnSpc>
                <a:spcPct val="100000"/>
              </a:lnSpc>
              <a:spcBef>
                <a:spcPts val="0"/>
              </a:spcBef>
              <a:spcAft>
                <a:spcPts val="0"/>
              </a:spcAft>
              <a:buClr>
                <a:schemeClr val="dk2"/>
              </a:buClr>
              <a:buSzPts val="1100"/>
              <a:buNone/>
              <a:defRPr sz="1100" b="1">
                <a:solidFill>
                  <a:schemeClr val="dk2"/>
                </a:solidFill>
              </a:defRPr>
            </a:lvl5pPr>
            <a:lvl6pPr lvl="5" algn="ctr" rtl="0">
              <a:lnSpc>
                <a:spcPct val="100000"/>
              </a:lnSpc>
              <a:spcBef>
                <a:spcPts val="0"/>
              </a:spcBef>
              <a:spcAft>
                <a:spcPts val="0"/>
              </a:spcAft>
              <a:buClr>
                <a:schemeClr val="dk2"/>
              </a:buClr>
              <a:buSzPts val="1100"/>
              <a:buNone/>
              <a:defRPr sz="1100" b="1">
                <a:solidFill>
                  <a:schemeClr val="dk2"/>
                </a:solidFill>
              </a:defRPr>
            </a:lvl6pPr>
            <a:lvl7pPr lvl="6" algn="ctr" rtl="0">
              <a:lnSpc>
                <a:spcPct val="100000"/>
              </a:lnSpc>
              <a:spcBef>
                <a:spcPts val="0"/>
              </a:spcBef>
              <a:spcAft>
                <a:spcPts val="0"/>
              </a:spcAft>
              <a:buClr>
                <a:schemeClr val="dk2"/>
              </a:buClr>
              <a:buSzPts val="1100"/>
              <a:buNone/>
              <a:defRPr sz="1100" b="1">
                <a:solidFill>
                  <a:schemeClr val="dk2"/>
                </a:solidFill>
              </a:defRPr>
            </a:lvl7pPr>
            <a:lvl8pPr lvl="7" algn="ctr" rtl="0">
              <a:lnSpc>
                <a:spcPct val="100000"/>
              </a:lnSpc>
              <a:spcBef>
                <a:spcPts val="0"/>
              </a:spcBef>
              <a:spcAft>
                <a:spcPts val="0"/>
              </a:spcAft>
              <a:buClr>
                <a:schemeClr val="dk2"/>
              </a:buClr>
              <a:buSzPts val="1100"/>
              <a:buNone/>
              <a:defRPr sz="1100" b="1">
                <a:solidFill>
                  <a:schemeClr val="dk2"/>
                </a:solidFill>
              </a:defRPr>
            </a:lvl8pPr>
            <a:lvl9pPr lvl="8" algn="ctr" rtl="0">
              <a:lnSpc>
                <a:spcPct val="100000"/>
              </a:lnSpc>
              <a:spcBef>
                <a:spcPts val="0"/>
              </a:spcBef>
              <a:spcAft>
                <a:spcPts val="0"/>
              </a:spcAft>
              <a:buClr>
                <a:schemeClr val="dk2"/>
              </a:buClr>
              <a:buSzPts val="1100"/>
              <a:buNone/>
              <a:defRPr sz="1100" b="1">
                <a:solidFill>
                  <a:schemeClr val="dk2"/>
                </a:solidFill>
              </a:defRPr>
            </a:lvl9pPr>
          </a:lstStyle>
          <a:p>
            <a:endParaRPr/>
          </a:p>
        </p:txBody>
      </p:sp>
      <p:sp>
        <p:nvSpPr>
          <p:cNvPr id="13" name="Google Shape;13;p2"/>
          <p:cNvSpPr txBox="1">
            <a:spLocks noGrp="1"/>
          </p:cNvSpPr>
          <p:nvPr>
            <p:ph type="subTitle" idx="3"/>
          </p:nvPr>
        </p:nvSpPr>
        <p:spPr>
          <a:xfrm>
            <a:off x="2046700" y="720000"/>
            <a:ext cx="1106700" cy="462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latin typeface="Nunito"/>
                <a:ea typeface="Nunito"/>
                <a:cs typeface="Nunito"/>
                <a:sym typeface="Nunito"/>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
        <p:nvSpPr>
          <p:cNvPr id="14" name="Google Shape;14;p2"/>
          <p:cNvSpPr txBox="1">
            <a:spLocks noGrp="1"/>
          </p:cNvSpPr>
          <p:nvPr>
            <p:ph type="subTitle" idx="4"/>
          </p:nvPr>
        </p:nvSpPr>
        <p:spPr>
          <a:xfrm>
            <a:off x="3211050" y="720000"/>
            <a:ext cx="1106700" cy="462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latin typeface="Nunito"/>
                <a:ea typeface="Nunito"/>
                <a:cs typeface="Nunito"/>
                <a:sym typeface="Nunito"/>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
        <p:nvSpPr>
          <p:cNvPr id="15" name="Google Shape;15;p2"/>
          <p:cNvSpPr txBox="1">
            <a:spLocks noGrp="1"/>
          </p:cNvSpPr>
          <p:nvPr>
            <p:ph type="subTitle" idx="5"/>
          </p:nvPr>
        </p:nvSpPr>
        <p:spPr>
          <a:xfrm>
            <a:off x="4375400" y="720000"/>
            <a:ext cx="1106700" cy="462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latin typeface="Nunito"/>
                <a:ea typeface="Nunito"/>
                <a:cs typeface="Nunito"/>
                <a:sym typeface="Nunito"/>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cxnSp>
        <p:nvCxnSpPr>
          <p:cNvPr id="16" name="Google Shape;16;p2"/>
          <p:cNvCxnSpPr/>
          <p:nvPr/>
        </p:nvCxnSpPr>
        <p:spPr>
          <a:xfrm>
            <a:off x="8516600" y="6520375"/>
            <a:ext cx="306000" cy="0"/>
          </a:xfrm>
          <a:prstGeom prst="straightConnector1">
            <a:avLst/>
          </a:prstGeom>
          <a:noFill/>
          <a:ln w="9525" cap="flat" cmpd="sng">
            <a:solidFill>
              <a:schemeClr val="dk2"/>
            </a:solidFill>
            <a:prstDash val="solid"/>
            <a:round/>
            <a:headEnd type="none" w="med" len="med"/>
            <a:tailEnd type="stealth" w="med" len="med"/>
          </a:ln>
        </p:spPr>
      </p:cxnSp>
      <p:grpSp>
        <p:nvGrpSpPr>
          <p:cNvPr id="17" name="Google Shape;17;p2"/>
          <p:cNvGrpSpPr/>
          <p:nvPr/>
        </p:nvGrpSpPr>
        <p:grpSpPr>
          <a:xfrm>
            <a:off x="7461713" y="962625"/>
            <a:ext cx="178300" cy="1850554"/>
            <a:chOff x="5334200" y="1501775"/>
            <a:chExt cx="178300" cy="1387950"/>
          </a:xfrm>
        </p:grpSpPr>
        <p:sp>
          <p:nvSpPr>
            <p:cNvPr id="18" name="Google Shape;18;p2"/>
            <p:cNvSpPr/>
            <p:nvPr/>
          </p:nvSpPr>
          <p:spPr>
            <a:xfrm>
              <a:off x="5334200" y="1501775"/>
              <a:ext cx="178300" cy="188475"/>
            </a:xfrm>
            <a:custGeom>
              <a:avLst/>
              <a:gdLst/>
              <a:ahLst/>
              <a:cxnLst/>
              <a:rect l="l" t="t" r="r" b="b"/>
              <a:pathLst>
                <a:path w="7132" h="7539" extrusionOk="0">
                  <a:moveTo>
                    <a:pt x="0" y="0"/>
                  </a:moveTo>
                  <a:lnTo>
                    <a:pt x="0" y="406"/>
                  </a:lnTo>
                  <a:lnTo>
                    <a:pt x="7132" y="7539"/>
                  </a:lnTo>
                  <a:lnTo>
                    <a:pt x="7132" y="7132"/>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9;p2"/>
            <p:cNvSpPr/>
            <p:nvPr/>
          </p:nvSpPr>
          <p:spPr>
            <a:xfrm>
              <a:off x="5334200" y="1594000"/>
              <a:ext cx="178300" cy="188550"/>
            </a:xfrm>
            <a:custGeom>
              <a:avLst/>
              <a:gdLst/>
              <a:ahLst/>
              <a:cxnLst/>
              <a:rect l="l" t="t" r="r" b="b"/>
              <a:pathLst>
                <a:path w="7132" h="7542" extrusionOk="0">
                  <a:moveTo>
                    <a:pt x="0" y="1"/>
                  </a:moveTo>
                  <a:lnTo>
                    <a:pt x="0" y="409"/>
                  </a:lnTo>
                  <a:lnTo>
                    <a:pt x="7132" y="7541"/>
                  </a:lnTo>
                  <a:lnTo>
                    <a:pt x="7132" y="7133"/>
                  </a:lnTo>
                  <a:lnTo>
                    <a:pt x="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a:off x="5334200" y="1686250"/>
              <a:ext cx="178300" cy="188525"/>
            </a:xfrm>
            <a:custGeom>
              <a:avLst/>
              <a:gdLst/>
              <a:ahLst/>
              <a:cxnLst/>
              <a:rect l="l" t="t" r="r" b="b"/>
              <a:pathLst>
                <a:path w="7132" h="7541" extrusionOk="0">
                  <a:moveTo>
                    <a:pt x="0" y="1"/>
                  </a:moveTo>
                  <a:lnTo>
                    <a:pt x="0" y="409"/>
                  </a:lnTo>
                  <a:lnTo>
                    <a:pt x="7132" y="7541"/>
                  </a:lnTo>
                  <a:lnTo>
                    <a:pt x="7132" y="7134"/>
                  </a:lnTo>
                  <a:lnTo>
                    <a:pt x="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1;p2"/>
            <p:cNvSpPr/>
            <p:nvPr/>
          </p:nvSpPr>
          <p:spPr>
            <a:xfrm>
              <a:off x="5334200" y="1778575"/>
              <a:ext cx="178300" cy="188475"/>
            </a:xfrm>
            <a:custGeom>
              <a:avLst/>
              <a:gdLst/>
              <a:ahLst/>
              <a:cxnLst/>
              <a:rect l="l" t="t" r="r" b="b"/>
              <a:pathLst>
                <a:path w="7132" h="7539" extrusionOk="0">
                  <a:moveTo>
                    <a:pt x="0" y="0"/>
                  </a:moveTo>
                  <a:lnTo>
                    <a:pt x="0" y="405"/>
                  </a:lnTo>
                  <a:lnTo>
                    <a:pt x="7132" y="7539"/>
                  </a:lnTo>
                  <a:lnTo>
                    <a:pt x="7132" y="7132"/>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2;p2"/>
            <p:cNvSpPr/>
            <p:nvPr/>
          </p:nvSpPr>
          <p:spPr>
            <a:xfrm>
              <a:off x="5334200" y="1870800"/>
              <a:ext cx="178300" cy="188525"/>
            </a:xfrm>
            <a:custGeom>
              <a:avLst/>
              <a:gdLst/>
              <a:ahLst/>
              <a:cxnLst/>
              <a:rect l="l" t="t" r="r" b="b"/>
              <a:pathLst>
                <a:path w="7132" h="7541" extrusionOk="0">
                  <a:moveTo>
                    <a:pt x="0" y="1"/>
                  </a:moveTo>
                  <a:lnTo>
                    <a:pt x="0" y="409"/>
                  </a:lnTo>
                  <a:lnTo>
                    <a:pt x="7132" y="7541"/>
                  </a:lnTo>
                  <a:lnTo>
                    <a:pt x="7132" y="7133"/>
                  </a:lnTo>
                  <a:lnTo>
                    <a:pt x="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3;p2"/>
            <p:cNvSpPr/>
            <p:nvPr/>
          </p:nvSpPr>
          <p:spPr>
            <a:xfrm>
              <a:off x="5334200" y="1963050"/>
              <a:ext cx="178300" cy="188525"/>
            </a:xfrm>
            <a:custGeom>
              <a:avLst/>
              <a:gdLst/>
              <a:ahLst/>
              <a:cxnLst/>
              <a:rect l="l" t="t" r="r" b="b"/>
              <a:pathLst>
                <a:path w="7132" h="7541" extrusionOk="0">
                  <a:moveTo>
                    <a:pt x="0" y="0"/>
                  </a:moveTo>
                  <a:lnTo>
                    <a:pt x="0" y="409"/>
                  </a:lnTo>
                  <a:lnTo>
                    <a:pt x="7132" y="7541"/>
                  </a:lnTo>
                  <a:lnTo>
                    <a:pt x="7132" y="7134"/>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4;p2"/>
            <p:cNvSpPr/>
            <p:nvPr/>
          </p:nvSpPr>
          <p:spPr>
            <a:xfrm>
              <a:off x="5334200" y="2055375"/>
              <a:ext cx="178300" cy="188475"/>
            </a:xfrm>
            <a:custGeom>
              <a:avLst/>
              <a:gdLst/>
              <a:ahLst/>
              <a:cxnLst/>
              <a:rect l="l" t="t" r="r" b="b"/>
              <a:pathLst>
                <a:path w="7132" h="7539" extrusionOk="0">
                  <a:moveTo>
                    <a:pt x="0" y="0"/>
                  </a:moveTo>
                  <a:lnTo>
                    <a:pt x="0" y="408"/>
                  </a:lnTo>
                  <a:lnTo>
                    <a:pt x="7132" y="7539"/>
                  </a:lnTo>
                  <a:lnTo>
                    <a:pt x="7132" y="7132"/>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5;p2"/>
            <p:cNvSpPr/>
            <p:nvPr/>
          </p:nvSpPr>
          <p:spPr>
            <a:xfrm>
              <a:off x="5334200" y="2147600"/>
              <a:ext cx="178300" cy="188525"/>
            </a:xfrm>
            <a:custGeom>
              <a:avLst/>
              <a:gdLst/>
              <a:ahLst/>
              <a:cxnLst/>
              <a:rect l="l" t="t" r="r" b="b"/>
              <a:pathLst>
                <a:path w="7132" h="7541" extrusionOk="0">
                  <a:moveTo>
                    <a:pt x="0" y="1"/>
                  </a:moveTo>
                  <a:lnTo>
                    <a:pt x="0" y="409"/>
                  </a:lnTo>
                  <a:lnTo>
                    <a:pt x="7132" y="7541"/>
                  </a:lnTo>
                  <a:lnTo>
                    <a:pt x="7132" y="7133"/>
                  </a:lnTo>
                  <a:lnTo>
                    <a:pt x="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6;p2"/>
            <p:cNvSpPr/>
            <p:nvPr/>
          </p:nvSpPr>
          <p:spPr>
            <a:xfrm>
              <a:off x="5334200" y="2239925"/>
              <a:ext cx="178300" cy="188450"/>
            </a:xfrm>
            <a:custGeom>
              <a:avLst/>
              <a:gdLst/>
              <a:ahLst/>
              <a:cxnLst/>
              <a:rect l="l" t="t" r="r" b="b"/>
              <a:pathLst>
                <a:path w="7132" h="7538" extrusionOk="0">
                  <a:moveTo>
                    <a:pt x="0" y="0"/>
                  </a:moveTo>
                  <a:lnTo>
                    <a:pt x="0" y="406"/>
                  </a:lnTo>
                  <a:lnTo>
                    <a:pt x="7132" y="7538"/>
                  </a:lnTo>
                  <a:lnTo>
                    <a:pt x="7132" y="7131"/>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2"/>
            <p:cNvSpPr/>
            <p:nvPr/>
          </p:nvSpPr>
          <p:spPr>
            <a:xfrm>
              <a:off x="5334200" y="2332175"/>
              <a:ext cx="178300" cy="188475"/>
            </a:xfrm>
            <a:custGeom>
              <a:avLst/>
              <a:gdLst/>
              <a:ahLst/>
              <a:cxnLst/>
              <a:rect l="l" t="t" r="r" b="b"/>
              <a:pathLst>
                <a:path w="7132" h="7539" extrusionOk="0">
                  <a:moveTo>
                    <a:pt x="0" y="0"/>
                  </a:moveTo>
                  <a:lnTo>
                    <a:pt x="0" y="408"/>
                  </a:lnTo>
                  <a:lnTo>
                    <a:pt x="7132" y="7539"/>
                  </a:lnTo>
                  <a:lnTo>
                    <a:pt x="7132" y="7132"/>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8;p2"/>
            <p:cNvSpPr/>
            <p:nvPr/>
          </p:nvSpPr>
          <p:spPr>
            <a:xfrm>
              <a:off x="5334200" y="2424400"/>
              <a:ext cx="178300" cy="188525"/>
            </a:xfrm>
            <a:custGeom>
              <a:avLst/>
              <a:gdLst/>
              <a:ahLst/>
              <a:cxnLst/>
              <a:rect l="l" t="t" r="r" b="b"/>
              <a:pathLst>
                <a:path w="7132" h="7541" extrusionOk="0">
                  <a:moveTo>
                    <a:pt x="0" y="1"/>
                  </a:moveTo>
                  <a:lnTo>
                    <a:pt x="0" y="409"/>
                  </a:lnTo>
                  <a:lnTo>
                    <a:pt x="7132" y="7541"/>
                  </a:lnTo>
                  <a:lnTo>
                    <a:pt x="7132" y="7133"/>
                  </a:lnTo>
                  <a:lnTo>
                    <a:pt x="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9;p2"/>
            <p:cNvSpPr/>
            <p:nvPr/>
          </p:nvSpPr>
          <p:spPr>
            <a:xfrm>
              <a:off x="5334200" y="2516675"/>
              <a:ext cx="178300" cy="188550"/>
            </a:xfrm>
            <a:custGeom>
              <a:avLst/>
              <a:gdLst/>
              <a:ahLst/>
              <a:cxnLst/>
              <a:rect l="l" t="t" r="r" b="b"/>
              <a:pathLst>
                <a:path w="7132" h="7542" extrusionOk="0">
                  <a:moveTo>
                    <a:pt x="0" y="1"/>
                  </a:moveTo>
                  <a:lnTo>
                    <a:pt x="0" y="408"/>
                  </a:lnTo>
                  <a:lnTo>
                    <a:pt x="7132" y="7541"/>
                  </a:lnTo>
                  <a:lnTo>
                    <a:pt x="7132" y="7133"/>
                  </a:lnTo>
                  <a:lnTo>
                    <a:pt x="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30;p2"/>
            <p:cNvSpPr/>
            <p:nvPr/>
          </p:nvSpPr>
          <p:spPr>
            <a:xfrm>
              <a:off x="5334200" y="2608975"/>
              <a:ext cx="178300" cy="188475"/>
            </a:xfrm>
            <a:custGeom>
              <a:avLst/>
              <a:gdLst/>
              <a:ahLst/>
              <a:cxnLst/>
              <a:rect l="l" t="t" r="r" b="b"/>
              <a:pathLst>
                <a:path w="7132" h="7539" extrusionOk="0">
                  <a:moveTo>
                    <a:pt x="0" y="0"/>
                  </a:moveTo>
                  <a:lnTo>
                    <a:pt x="0" y="407"/>
                  </a:lnTo>
                  <a:lnTo>
                    <a:pt x="7132" y="7539"/>
                  </a:lnTo>
                  <a:lnTo>
                    <a:pt x="7132" y="7132"/>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2"/>
            <p:cNvSpPr/>
            <p:nvPr/>
          </p:nvSpPr>
          <p:spPr>
            <a:xfrm>
              <a:off x="5334200" y="2701200"/>
              <a:ext cx="178300" cy="188525"/>
            </a:xfrm>
            <a:custGeom>
              <a:avLst/>
              <a:gdLst/>
              <a:ahLst/>
              <a:cxnLst/>
              <a:rect l="l" t="t" r="r" b="b"/>
              <a:pathLst>
                <a:path w="7132" h="7541" extrusionOk="0">
                  <a:moveTo>
                    <a:pt x="0" y="1"/>
                  </a:moveTo>
                  <a:lnTo>
                    <a:pt x="0" y="409"/>
                  </a:lnTo>
                  <a:lnTo>
                    <a:pt x="7132" y="7541"/>
                  </a:lnTo>
                  <a:lnTo>
                    <a:pt x="7132" y="7134"/>
                  </a:lnTo>
                  <a:lnTo>
                    <a:pt x="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2" name="Google Shape;32;p2"/>
          <p:cNvGrpSpPr/>
          <p:nvPr/>
        </p:nvGrpSpPr>
        <p:grpSpPr>
          <a:xfrm>
            <a:off x="7880925" y="1677911"/>
            <a:ext cx="543075" cy="198428"/>
            <a:chOff x="7279325" y="933900"/>
            <a:chExt cx="543075" cy="148825"/>
          </a:xfrm>
        </p:grpSpPr>
        <p:sp>
          <p:nvSpPr>
            <p:cNvPr id="33" name="Google Shape;33;p2"/>
            <p:cNvSpPr/>
            <p:nvPr/>
          </p:nvSpPr>
          <p:spPr>
            <a:xfrm>
              <a:off x="7279325" y="933900"/>
              <a:ext cx="543075" cy="46575"/>
            </a:xfrm>
            <a:custGeom>
              <a:avLst/>
              <a:gdLst/>
              <a:ahLst/>
              <a:cxnLst/>
              <a:rect l="l" t="t" r="r" b="b"/>
              <a:pathLst>
                <a:path w="21723" h="1863" extrusionOk="0">
                  <a:moveTo>
                    <a:pt x="6638" y="1"/>
                  </a:moveTo>
                  <a:cubicBezTo>
                    <a:pt x="5867" y="1"/>
                    <a:pt x="5097" y="240"/>
                    <a:pt x="4378" y="715"/>
                  </a:cubicBezTo>
                  <a:cubicBezTo>
                    <a:pt x="3752" y="1132"/>
                    <a:pt x="3080" y="1340"/>
                    <a:pt x="2409" y="1340"/>
                  </a:cubicBezTo>
                  <a:cubicBezTo>
                    <a:pt x="1737" y="1340"/>
                    <a:pt x="1065" y="1132"/>
                    <a:pt x="439" y="715"/>
                  </a:cubicBezTo>
                  <a:cubicBezTo>
                    <a:pt x="396" y="686"/>
                    <a:pt x="346" y="672"/>
                    <a:pt x="297" y="672"/>
                  </a:cubicBezTo>
                  <a:cubicBezTo>
                    <a:pt x="214" y="672"/>
                    <a:pt x="131" y="713"/>
                    <a:pt x="81" y="788"/>
                  </a:cubicBezTo>
                  <a:cubicBezTo>
                    <a:pt x="1" y="905"/>
                    <a:pt x="34" y="1068"/>
                    <a:pt x="152" y="1147"/>
                  </a:cubicBezTo>
                  <a:cubicBezTo>
                    <a:pt x="870" y="1624"/>
                    <a:pt x="1639" y="1863"/>
                    <a:pt x="2409" y="1863"/>
                  </a:cubicBezTo>
                  <a:cubicBezTo>
                    <a:pt x="3179" y="1863"/>
                    <a:pt x="3949" y="1624"/>
                    <a:pt x="4666" y="1147"/>
                  </a:cubicBezTo>
                  <a:cubicBezTo>
                    <a:pt x="5292" y="730"/>
                    <a:pt x="5964" y="522"/>
                    <a:pt x="6635" y="522"/>
                  </a:cubicBezTo>
                  <a:cubicBezTo>
                    <a:pt x="7307" y="522"/>
                    <a:pt x="7979" y="730"/>
                    <a:pt x="8605" y="1147"/>
                  </a:cubicBezTo>
                  <a:cubicBezTo>
                    <a:pt x="9322" y="1624"/>
                    <a:pt x="10092" y="1863"/>
                    <a:pt x="10862" y="1863"/>
                  </a:cubicBezTo>
                  <a:cubicBezTo>
                    <a:pt x="11632" y="1863"/>
                    <a:pt x="12401" y="1624"/>
                    <a:pt x="13119" y="1147"/>
                  </a:cubicBezTo>
                  <a:cubicBezTo>
                    <a:pt x="13745" y="730"/>
                    <a:pt x="14416" y="522"/>
                    <a:pt x="15088" y="522"/>
                  </a:cubicBezTo>
                  <a:cubicBezTo>
                    <a:pt x="15759" y="522"/>
                    <a:pt x="16431" y="730"/>
                    <a:pt x="17057" y="1147"/>
                  </a:cubicBezTo>
                  <a:cubicBezTo>
                    <a:pt x="17774" y="1624"/>
                    <a:pt x="18544" y="1863"/>
                    <a:pt x="19314" y="1863"/>
                  </a:cubicBezTo>
                  <a:cubicBezTo>
                    <a:pt x="20084" y="1863"/>
                    <a:pt x="20854" y="1624"/>
                    <a:pt x="21571" y="1147"/>
                  </a:cubicBezTo>
                  <a:cubicBezTo>
                    <a:pt x="21689" y="1068"/>
                    <a:pt x="21723" y="908"/>
                    <a:pt x="21642" y="788"/>
                  </a:cubicBezTo>
                  <a:cubicBezTo>
                    <a:pt x="21593" y="713"/>
                    <a:pt x="21511" y="672"/>
                    <a:pt x="21427" y="672"/>
                  </a:cubicBezTo>
                  <a:cubicBezTo>
                    <a:pt x="21378" y="672"/>
                    <a:pt x="21328" y="686"/>
                    <a:pt x="21284" y="715"/>
                  </a:cubicBezTo>
                  <a:cubicBezTo>
                    <a:pt x="20658" y="1132"/>
                    <a:pt x="19986" y="1340"/>
                    <a:pt x="19315" y="1340"/>
                  </a:cubicBezTo>
                  <a:cubicBezTo>
                    <a:pt x="18643" y="1340"/>
                    <a:pt x="17972" y="1132"/>
                    <a:pt x="17346" y="715"/>
                  </a:cubicBezTo>
                  <a:cubicBezTo>
                    <a:pt x="16628" y="239"/>
                    <a:pt x="15858" y="1"/>
                    <a:pt x="15089" y="1"/>
                  </a:cubicBezTo>
                  <a:cubicBezTo>
                    <a:pt x="14319" y="1"/>
                    <a:pt x="13549" y="239"/>
                    <a:pt x="12832" y="715"/>
                  </a:cubicBezTo>
                  <a:cubicBezTo>
                    <a:pt x="12206" y="1132"/>
                    <a:pt x="11534" y="1340"/>
                    <a:pt x="10862" y="1340"/>
                  </a:cubicBezTo>
                  <a:cubicBezTo>
                    <a:pt x="10191" y="1340"/>
                    <a:pt x="9519" y="1132"/>
                    <a:pt x="8893" y="715"/>
                  </a:cubicBezTo>
                  <a:cubicBezTo>
                    <a:pt x="8177" y="240"/>
                    <a:pt x="7407" y="1"/>
                    <a:pt x="663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2"/>
            <p:cNvSpPr/>
            <p:nvPr/>
          </p:nvSpPr>
          <p:spPr>
            <a:xfrm>
              <a:off x="7279325" y="1036150"/>
              <a:ext cx="543075" cy="46575"/>
            </a:xfrm>
            <a:custGeom>
              <a:avLst/>
              <a:gdLst/>
              <a:ahLst/>
              <a:cxnLst/>
              <a:rect l="l" t="t" r="r" b="b"/>
              <a:pathLst>
                <a:path w="21723" h="1863" extrusionOk="0">
                  <a:moveTo>
                    <a:pt x="6638" y="1"/>
                  </a:moveTo>
                  <a:cubicBezTo>
                    <a:pt x="5867" y="1"/>
                    <a:pt x="5097" y="241"/>
                    <a:pt x="4378" y="716"/>
                  </a:cubicBezTo>
                  <a:cubicBezTo>
                    <a:pt x="3752" y="1132"/>
                    <a:pt x="3080" y="1341"/>
                    <a:pt x="2409" y="1341"/>
                  </a:cubicBezTo>
                  <a:cubicBezTo>
                    <a:pt x="1737" y="1341"/>
                    <a:pt x="1065" y="1132"/>
                    <a:pt x="439" y="716"/>
                  </a:cubicBezTo>
                  <a:cubicBezTo>
                    <a:pt x="396" y="687"/>
                    <a:pt x="346" y="673"/>
                    <a:pt x="297" y="673"/>
                  </a:cubicBezTo>
                  <a:cubicBezTo>
                    <a:pt x="214" y="673"/>
                    <a:pt x="131" y="713"/>
                    <a:pt x="81" y="789"/>
                  </a:cubicBezTo>
                  <a:cubicBezTo>
                    <a:pt x="1" y="906"/>
                    <a:pt x="34" y="1068"/>
                    <a:pt x="152" y="1147"/>
                  </a:cubicBezTo>
                  <a:cubicBezTo>
                    <a:pt x="870" y="1624"/>
                    <a:pt x="1639" y="1863"/>
                    <a:pt x="2409" y="1863"/>
                  </a:cubicBezTo>
                  <a:cubicBezTo>
                    <a:pt x="3179" y="1863"/>
                    <a:pt x="3949" y="1624"/>
                    <a:pt x="4666" y="1147"/>
                  </a:cubicBezTo>
                  <a:cubicBezTo>
                    <a:pt x="5292" y="730"/>
                    <a:pt x="5964" y="522"/>
                    <a:pt x="6635" y="522"/>
                  </a:cubicBezTo>
                  <a:cubicBezTo>
                    <a:pt x="7307" y="522"/>
                    <a:pt x="7979" y="730"/>
                    <a:pt x="8605" y="1147"/>
                  </a:cubicBezTo>
                  <a:cubicBezTo>
                    <a:pt x="9322" y="1624"/>
                    <a:pt x="10092" y="1863"/>
                    <a:pt x="10862" y="1863"/>
                  </a:cubicBezTo>
                  <a:cubicBezTo>
                    <a:pt x="11632" y="1863"/>
                    <a:pt x="12401" y="1624"/>
                    <a:pt x="13119" y="1147"/>
                  </a:cubicBezTo>
                  <a:cubicBezTo>
                    <a:pt x="13745" y="730"/>
                    <a:pt x="14416" y="522"/>
                    <a:pt x="15088" y="522"/>
                  </a:cubicBezTo>
                  <a:cubicBezTo>
                    <a:pt x="15759" y="522"/>
                    <a:pt x="16431" y="730"/>
                    <a:pt x="17057" y="1147"/>
                  </a:cubicBezTo>
                  <a:cubicBezTo>
                    <a:pt x="17774" y="1624"/>
                    <a:pt x="18544" y="1863"/>
                    <a:pt x="19314" y="1863"/>
                  </a:cubicBezTo>
                  <a:cubicBezTo>
                    <a:pt x="20084" y="1863"/>
                    <a:pt x="20854" y="1624"/>
                    <a:pt x="21571" y="1147"/>
                  </a:cubicBezTo>
                  <a:cubicBezTo>
                    <a:pt x="21689" y="1069"/>
                    <a:pt x="21723" y="909"/>
                    <a:pt x="21642" y="789"/>
                  </a:cubicBezTo>
                  <a:cubicBezTo>
                    <a:pt x="21593" y="713"/>
                    <a:pt x="21511" y="673"/>
                    <a:pt x="21427" y="673"/>
                  </a:cubicBezTo>
                  <a:cubicBezTo>
                    <a:pt x="21378" y="673"/>
                    <a:pt x="21328" y="687"/>
                    <a:pt x="21284" y="716"/>
                  </a:cubicBezTo>
                  <a:cubicBezTo>
                    <a:pt x="20658" y="1132"/>
                    <a:pt x="19986" y="1341"/>
                    <a:pt x="19315" y="1341"/>
                  </a:cubicBezTo>
                  <a:cubicBezTo>
                    <a:pt x="18643" y="1341"/>
                    <a:pt x="17972" y="1132"/>
                    <a:pt x="17346" y="716"/>
                  </a:cubicBezTo>
                  <a:cubicBezTo>
                    <a:pt x="16628" y="239"/>
                    <a:pt x="15858" y="1"/>
                    <a:pt x="15089" y="1"/>
                  </a:cubicBezTo>
                  <a:cubicBezTo>
                    <a:pt x="14319" y="1"/>
                    <a:pt x="13549" y="239"/>
                    <a:pt x="12832" y="716"/>
                  </a:cubicBezTo>
                  <a:cubicBezTo>
                    <a:pt x="12206" y="1132"/>
                    <a:pt x="11534" y="1341"/>
                    <a:pt x="10862" y="1341"/>
                  </a:cubicBezTo>
                  <a:cubicBezTo>
                    <a:pt x="10191" y="1341"/>
                    <a:pt x="9519" y="1132"/>
                    <a:pt x="8893" y="716"/>
                  </a:cubicBezTo>
                  <a:cubicBezTo>
                    <a:pt x="8177" y="241"/>
                    <a:pt x="7407" y="1"/>
                    <a:pt x="663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 name="Google Shape;35;p2"/>
          <p:cNvGrpSpPr/>
          <p:nvPr/>
        </p:nvGrpSpPr>
        <p:grpSpPr>
          <a:xfrm>
            <a:off x="7927627" y="121707"/>
            <a:ext cx="1101844" cy="1141705"/>
            <a:chOff x="2974150" y="1190900"/>
            <a:chExt cx="856200" cy="856300"/>
          </a:xfrm>
        </p:grpSpPr>
        <p:sp>
          <p:nvSpPr>
            <p:cNvPr id="36" name="Google Shape;36;p2"/>
            <p:cNvSpPr/>
            <p:nvPr/>
          </p:nvSpPr>
          <p:spPr>
            <a:xfrm>
              <a:off x="3060325" y="1277100"/>
              <a:ext cx="610550" cy="610550"/>
            </a:xfrm>
            <a:custGeom>
              <a:avLst/>
              <a:gdLst/>
              <a:ahLst/>
              <a:cxnLst/>
              <a:rect l="l" t="t" r="r" b="b"/>
              <a:pathLst>
                <a:path w="24422" h="24422" extrusionOk="0">
                  <a:moveTo>
                    <a:pt x="23992" y="1"/>
                  </a:moveTo>
                  <a:lnTo>
                    <a:pt x="1" y="23992"/>
                  </a:lnTo>
                  <a:cubicBezTo>
                    <a:pt x="110" y="24136"/>
                    <a:pt x="221" y="24280"/>
                    <a:pt x="336" y="24421"/>
                  </a:cubicBezTo>
                  <a:lnTo>
                    <a:pt x="24421" y="336"/>
                  </a:lnTo>
                  <a:cubicBezTo>
                    <a:pt x="24279" y="222"/>
                    <a:pt x="24136" y="110"/>
                    <a:pt x="2399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2"/>
            <p:cNvSpPr/>
            <p:nvPr/>
          </p:nvSpPr>
          <p:spPr>
            <a:xfrm>
              <a:off x="2987625" y="1204375"/>
              <a:ext cx="536750" cy="536725"/>
            </a:xfrm>
            <a:custGeom>
              <a:avLst/>
              <a:gdLst/>
              <a:ahLst/>
              <a:cxnLst/>
              <a:rect l="l" t="t" r="r" b="b"/>
              <a:pathLst>
                <a:path w="21470" h="21469" extrusionOk="0">
                  <a:moveTo>
                    <a:pt x="20870" y="0"/>
                  </a:moveTo>
                  <a:lnTo>
                    <a:pt x="1" y="20869"/>
                  </a:lnTo>
                  <a:cubicBezTo>
                    <a:pt x="51" y="21071"/>
                    <a:pt x="107" y="21270"/>
                    <a:pt x="165" y="21469"/>
                  </a:cubicBezTo>
                  <a:lnTo>
                    <a:pt x="21469" y="166"/>
                  </a:lnTo>
                  <a:cubicBezTo>
                    <a:pt x="21269" y="106"/>
                    <a:pt x="21070" y="52"/>
                    <a:pt x="208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38;p2"/>
            <p:cNvSpPr/>
            <p:nvPr/>
          </p:nvSpPr>
          <p:spPr>
            <a:xfrm>
              <a:off x="3030700" y="1247500"/>
              <a:ext cx="596575" cy="596575"/>
            </a:xfrm>
            <a:custGeom>
              <a:avLst/>
              <a:gdLst/>
              <a:ahLst/>
              <a:cxnLst/>
              <a:rect l="l" t="t" r="r" b="b"/>
              <a:pathLst>
                <a:path w="23863" h="23863" extrusionOk="0">
                  <a:moveTo>
                    <a:pt x="23383" y="1"/>
                  </a:moveTo>
                  <a:lnTo>
                    <a:pt x="0" y="23383"/>
                  </a:lnTo>
                  <a:cubicBezTo>
                    <a:pt x="93" y="23544"/>
                    <a:pt x="187" y="23703"/>
                    <a:pt x="284" y="23863"/>
                  </a:cubicBezTo>
                  <a:lnTo>
                    <a:pt x="23863" y="285"/>
                  </a:lnTo>
                  <a:cubicBezTo>
                    <a:pt x="23703" y="186"/>
                    <a:pt x="23544" y="92"/>
                    <a:pt x="2338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39;p2"/>
            <p:cNvSpPr/>
            <p:nvPr/>
          </p:nvSpPr>
          <p:spPr>
            <a:xfrm>
              <a:off x="3006150" y="1222925"/>
              <a:ext cx="572475" cy="572525"/>
            </a:xfrm>
            <a:custGeom>
              <a:avLst/>
              <a:gdLst/>
              <a:ahLst/>
              <a:cxnLst/>
              <a:rect l="l" t="t" r="r" b="b"/>
              <a:pathLst>
                <a:path w="22899" h="22901" extrusionOk="0">
                  <a:moveTo>
                    <a:pt x="22365" y="0"/>
                  </a:moveTo>
                  <a:lnTo>
                    <a:pt x="0" y="22366"/>
                  </a:lnTo>
                  <a:cubicBezTo>
                    <a:pt x="75" y="22545"/>
                    <a:pt x="151" y="22723"/>
                    <a:pt x="233" y="22900"/>
                  </a:cubicBezTo>
                  <a:lnTo>
                    <a:pt x="22899" y="233"/>
                  </a:lnTo>
                  <a:cubicBezTo>
                    <a:pt x="22721" y="152"/>
                    <a:pt x="22544" y="75"/>
                    <a:pt x="223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2"/>
            <p:cNvSpPr/>
            <p:nvPr/>
          </p:nvSpPr>
          <p:spPr>
            <a:xfrm>
              <a:off x="2976275" y="1193050"/>
              <a:ext cx="486900" cy="486900"/>
            </a:xfrm>
            <a:custGeom>
              <a:avLst/>
              <a:gdLst/>
              <a:ahLst/>
              <a:cxnLst/>
              <a:rect l="l" t="t" r="r" b="b"/>
              <a:pathLst>
                <a:path w="19476" h="19476" extrusionOk="0">
                  <a:moveTo>
                    <a:pt x="18794" y="1"/>
                  </a:moveTo>
                  <a:lnTo>
                    <a:pt x="1" y="18794"/>
                  </a:lnTo>
                  <a:cubicBezTo>
                    <a:pt x="24" y="19021"/>
                    <a:pt x="53" y="19249"/>
                    <a:pt x="84" y="19475"/>
                  </a:cubicBezTo>
                  <a:lnTo>
                    <a:pt x="19475" y="84"/>
                  </a:lnTo>
                  <a:cubicBezTo>
                    <a:pt x="19249" y="51"/>
                    <a:pt x="19021" y="25"/>
                    <a:pt x="1879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1;p2"/>
            <p:cNvSpPr/>
            <p:nvPr/>
          </p:nvSpPr>
          <p:spPr>
            <a:xfrm>
              <a:off x="3094700" y="1311525"/>
              <a:ext cx="615075" cy="615050"/>
            </a:xfrm>
            <a:custGeom>
              <a:avLst/>
              <a:gdLst/>
              <a:ahLst/>
              <a:cxnLst/>
              <a:rect l="l" t="t" r="r" b="b"/>
              <a:pathLst>
                <a:path w="24603" h="24602" extrusionOk="0">
                  <a:moveTo>
                    <a:pt x="24221" y="0"/>
                  </a:moveTo>
                  <a:lnTo>
                    <a:pt x="1" y="24220"/>
                  </a:lnTo>
                  <a:lnTo>
                    <a:pt x="189" y="24413"/>
                  </a:lnTo>
                  <a:cubicBezTo>
                    <a:pt x="253" y="24478"/>
                    <a:pt x="318" y="24539"/>
                    <a:pt x="382" y="24601"/>
                  </a:cubicBezTo>
                  <a:lnTo>
                    <a:pt x="24602" y="381"/>
                  </a:lnTo>
                  <a:cubicBezTo>
                    <a:pt x="24541" y="318"/>
                    <a:pt x="24479" y="252"/>
                    <a:pt x="24414" y="189"/>
                  </a:cubicBezTo>
                  <a:cubicBezTo>
                    <a:pt x="24350" y="123"/>
                    <a:pt x="24285" y="63"/>
                    <a:pt x="2422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42;p2"/>
            <p:cNvSpPr/>
            <p:nvPr/>
          </p:nvSpPr>
          <p:spPr>
            <a:xfrm>
              <a:off x="2974150" y="1190900"/>
              <a:ext cx="418775" cy="418800"/>
            </a:xfrm>
            <a:custGeom>
              <a:avLst/>
              <a:gdLst/>
              <a:ahLst/>
              <a:cxnLst/>
              <a:rect l="l" t="t" r="r" b="b"/>
              <a:pathLst>
                <a:path w="16751" h="16752" extrusionOk="0">
                  <a:moveTo>
                    <a:pt x="16751" y="0"/>
                  </a:moveTo>
                  <a:lnTo>
                    <a:pt x="16751" y="0"/>
                  </a:lnTo>
                  <a:cubicBezTo>
                    <a:pt x="16484" y="6"/>
                    <a:pt x="16218" y="19"/>
                    <a:pt x="15950" y="37"/>
                  </a:cubicBezTo>
                  <a:lnTo>
                    <a:pt x="36" y="15950"/>
                  </a:lnTo>
                  <a:cubicBezTo>
                    <a:pt x="18" y="16217"/>
                    <a:pt x="6" y="16483"/>
                    <a:pt x="1" y="16752"/>
                  </a:cubicBezTo>
                  <a:lnTo>
                    <a:pt x="1675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43;p2"/>
            <p:cNvSpPr/>
            <p:nvPr/>
          </p:nvSpPr>
          <p:spPr>
            <a:xfrm>
              <a:off x="2984475" y="1201300"/>
              <a:ext cx="323550" cy="323525"/>
            </a:xfrm>
            <a:custGeom>
              <a:avLst/>
              <a:gdLst/>
              <a:ahLst/>
              <a:cxnLst/>
              <a:rect l="l" t="t" r="r" b="b"/>
              <a:pathLst>
                <a:path w="12942" h="12941" extrusionOk="0">
                  <a:moveTo>
                    <a:pt x="12941" y="0"/>
                  </a:moveTo>
                  <a:lnTo>
                    <a:pt x="12941" y="0"/>
                  </a:lnTo>
                  <a:cubicBezTo>
                    <a:pt x="12597" y="78"/>
                    <a:pt x="12254" y="166"/>
                    <a:pt x="11914" y="266"/>
                  </a:cubicBezTo>
                  <a:lnTo>
                    <a:pt x="265" y="11915"/>
                  </a:lnTo>
                  <a:cubicBezTo>
                    <a:pt x="166" y="12253"/>
                    <a:pt x="78" y="12596"/>
                    <a:pt x="1" y="12941"/>
                  </a:cubicBezTo>
                  <a:lnTo>
                    <a:pt x="129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2"/>
            <p:cNvSpPr/>
            <p:nvPr/>
          </p:nvSpPr>
          <p:spPr>
            <a:xfrm>
              <a:off x="3411650" y="1628375"/>
              <a:ext cx="418700" cy="418825"/>
            </a:xfrm>
            <a:custGeom>
              <a:avLst/>
              <a:gdLst/>
              <a:ahLst/>
              <a:cxnLst/>
              <a:rect l="l" t="t" r="r" b="b"/>
              <a:pathLst>
                <a:path w="16748" h="16753" extrusionOk="0">
                  <a:moveTo>
                    <a:pt x="16748" y="1"/>
                  </a:moveTo>
                  <a:lnTo>
                    <a:pt x="1" y="16752"/>
                  </a:lnTo>
                  <a:cubicBezTo>
                    <a:pt x="268" y="16746"/>
                    <a:pt x="533" y="16734"/>
                    <a:pt x="801" y="16716"/>
                  </a:cubicBezTo>
                  <a:lnTo>
                    <a:pt x="16713" y="802"/>
                  </a:lnTo>
                  <a:cubicBezTo>
                    <a:pt x="16731" y="535"/>
                    <a:pt x="16743" y="270"/>
                    <a:pt x="167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45;p2"/>
            <p:cNvSpPr/>
            <p:nvPr/>
          </p:nvSpPr>
          <p:spPr>
            <a:xfrm>
              <a:off x="3341350" y="1558150"/>
              <a:ext cx="486875" cy="486875"/>
            </a:xfrm>
            <a:custGeom>
              <a:avLst/>
              <a:gdLst/>
              <a:ahLst/>
              <a:cxnLst/>
              <a:rect l="l" t="t" r="r" b="b"/>
              <a:pathLst>
                <a:path w="19475" h="19475" extrusionOk="0">
                  <a:moveTo>
                    <a:pt x="19391" y="1"/>
                  </a:moveTo>
                  <a:lnTo>
                    <a:pt x="0" y="19391"/>
                  </a:lnTo>
                  <a:cubicBezTo>
                    <a:pt x="226" y="19425"/>
                    <a:pt x="454" y="19451"/>
                    <a:pt x="682" y="19475"/>
                  </a:cubicBezTo>
                  <a:lnTo>
                    <a:pt x="19475" y="682"/>
                  </a:lnTo>
                  <a:cubicBezTo>
                    <a:pt x="19452" y="454"/>
                    <a:pt x="19424" y="227"/>
                    <a:pt x="1939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46;p2"/>
            <p:cNvSpPr/>
            <p:nvPr/>
          </p:nvSpPr>
          <p:spPr>
            <a:xfrm>
              <a:off x="3033250" y="1250050"/>
              <a:ext cx="151525" cy="151500"/>
            </a:xfrm>
            <a:custGeom>
              <a:avLst/>
              <a:gdLst/>
              <a:ahLst/>
              <a:cxnLst/>
              <a:rect l="l" t="t" r="r" b="b"/>
              <a:pathLst>
                <a:path w="6061" h="6060" extrusionOk="0">
                  <a:moveTo>
                    <a:pt x="6061" y="1"/>
                  </a:moveTo>
                  <a:lnTo>
                    <a:pt x="6061" y="1"/>
                  </a:lnTo>
                  <a:cubicBezTo>
                    <a:pt x="4842" y="720"/>
                    <a:pt x="3694" y="1602"/>
                    <a:pt x="2649" y="2649"/>
                  </a:cubicBezTo>
                  <a:cubicBezTo>
                    <a:pt x="1603" y="3695"/>
                    <a:pt x="720" y="4844"/>
                    <a:pt x="0" y="6059"/>
                  </a:cubicBezTo>
                  <a:lnTo>
                    <a:pt x="606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47;p2"/>
            <p:cNvSpPr/>
            <p:nvPr/>
          </p:nvSpPr>
          <p:spPr>
            <a:xfrm>
              <a:off x="3496525" y="1713300"/>
              <a:ext cx="323550" cy="323525"/>
            </a:xfrm>
            <a:custGeom>
              <a:avLst/>
              <a:gdLst/>
              <a:ahLst/>
              <a:cxnLst/>
              <a:rect l="l" t="t" r="r" b="b"/>
              <a:pathLst>
                <a:path w="12942" h="12941" extrusionOk="0">
                  <a:moveTo>
                    <a:pt x="12941" y="1"/>
                  </a:moveTo>
                  <a:lnTo>
                    <a:pt x="1" y="12941"/>
                  </a:lnTo>
                  <a:cubicBezTo>
                    <a:pt x="347" y="12864"/>
                    <a:pt x="690" y="12776"/>
                    <a:pt x="1030" y="12675"/>
                  </a:cubicBezTo>
                  <a:lnTo>
                    <a:pt x="12676" y="1028"/>
                  </a:lnTo>
                  <a:cubicBezTo>
                    <a:pt x="12774" y="687"/>
                    <a:pt x="12864" y="345"/>
                    <a:pt x="129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48;p2"/>
            <p:cNvSpPr/>
            <p:nvPr/>
          </p:nvSpPr>
          <p:spPr>
            <a:xfrm>
              <a:off x="3619775" y="1836575"/>
              <a:ext cx="151500" cy="151500"/>
            </a:xfrm>
            <a:custGeom>
              <a:avLst/>
              <a:gdLst/>
              <a:ahLst/>
              <a:cxnLst/>
              <a:rect l="l" t="t" r="r" b="b"/>
              <a:pathLst>
                <a:path w="6060" h="6060" extrusionOk="0">
                  <a:moveTo>
                    <a:pt x="6059" y="1"/>
                  </a:moveTo>
                  <a:lnTo>
                    <a:pt x="1" y="6060"/>
                  </a:lnTo>
                  <a:cubicBezTo>
                    <a:pt x="1218" y="5340"/>
                    <a:pt x="2365" y="4458"/>
                    <a:pt x="3411" y="3411"/>
                  </a:cubicBezTo>
                  <a:cubicBezTo>
                    <a:pt x="4457" y="2365"/>
                    <a:pt x="5340" y="1217"/>
                    <a:pt x="605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49;p2"/>
            <p:cNvSpPr/>
            <p:nvPr/>
          </p:nvSpPr>
          <p:spPr>
            <a:xfrm>
              <a:off x="3177225" y="1394050"/>
              <a:ext cx="596625" cy="596600"/>
            </a:xfrm>
            <a:custGeom>
              <a:avLst/>
              <a:gdLst/>
              <a:ahLst/>
              <a:cxnLst/>
              <a:rect l="l" t="t" r="r" b="b"/>
              <a:pathLst>
                <a:path w="23865" h="23864" extrusionOk="0">
                  <a:moveTo>
                    <a:pt x="23579" y="0"/>
                  </a:moveTo>
                  <a:lnTo>
                    <a:pt x="1" y="23579"/>
                  </a:lnTo>
                  <a:cubicBezTo>
                    <a:pt x="160" y="23677"/>
                    <a:pt x="320" y="23771"/>
                    <a:pt x="481" y="23864"/>
                  </a:cubicBezTo>
                  <a:lnTo>
                    <a:pt x="23865" y="480"/>
                  </a:lnTo>
                  <a:cubicBezTo>
                    <a:pt x="23770" y="319"/>
                    <a:pt x="23676" y="160"/>
                    <a:pt x="2357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0;p2"/>
            <p:cNvSpPr/>
            <p:nvPr/>
          </p:nvSpPr>
          <p:spPr>
            <a:xfrm>
              <a:off x="3133650" y="1350450"/>
              <a:ext cx="610525" cy="610500"/>
            </a:xfrm>
            <a:custGeom>
              <a:avLst/>
              <a:gdLst/>
              <a:ahLst/>
              <a:cxnLst/>
              <a:rect l="l" t="t" r="r" b="b"/>
              <a:pathLst>
                <a:path w="24421" h="24420" extrusionOk="0">
                  <a:moveTo>
                    <a:pt x="24087" y="1"/>
                  </a:moveTo>
                  <a:lnTo>
                    <a:pt x="0" y="24086"/>
                  </a:lnTo>
                  <a:cubicBezTo>
                    <a:pt x="143" y="24199"/>
                    <a:pt x="285" y="24312"/>
                    <a:pt x="430" y="24419"/>
                  </a:cubicBezTo>
                  <a:lnTo>
                    <a:pt x="24421" y="430"/>
                  </a:lnTo>
                  <a:cubicBezTo>
                    <a:pt x="24311" y="286"/>
                    <a:pt x="24201" y="142"/>
                    <a:pt x="2408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1;p2"/>
            <p:cNvSpPr/>
            <p:nvPr/>
          </p:nvSpPr>
          <p:spPr>
            <a:xfrm>
              <a:off x="3280175" y="1497000"/>
              <a:ext cx="536775" cy="536775"/>
            </a:xfrm>
            <a:custGeom>
              <a:avLst/>
              <a:gdLst/>
              <a:ahLst/>
              <a:cxnLst/>
              <a:rect l="l" t="t" r="r" b="b"/>
              <a:pathLst>
                <a:path w="21471" h="21471" extrusionOk="0">
                  <a:moveTo>
                    <a:pt x="21305" y="0"/>
                  </a:moveTo>
                  <a:lnTo>
                    <a:pt x="1" y="21305"/>
                  </a:lnTo>
                  <a:cubicBezTo>
                    <a:pt x="199" y="21364"/>
                    <a:pt x="398" y="21418"/>
                    <a:pt x="600" y="21470"/>
                  </a:cubicBezTo>
                  <a:lnTo>
                    <a:pt x="21471" y="600"/>
                  </a:lnTo>
                  <a:cubicBezTo>
                    <a:pt x="21419" y="398"/>
                    <a:pt x="21365" y="199"/>
                    <a:pt x="2130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52;p2"/>
            <p:cNvSpPr/>
            <p:nvPr/>
          </p:nvSpPr>
          <p:spPr>
            <a:xfrm>
              <a:off x="3225925" y="1442725"/>
              <a:ext cx="572450" cy="572450"/>
            </a:xfrm>
            <a:custGeom>
              <a:avLst/>
              <a:gdLst/>
              <a:ahLst/>
              <a:cxnLst/>
              <a:rect l="l" t="t" r="r" b="b"/>
              <a:pathLst>
                <a:path w="22898" h="22898" extrusionOk="0">
                  <a:moveTo>
                    <a:pt x="22665" y="1"/>
                  </a:moveTo>
                  <a:lnTo>
                    <a:pt x="0" y="22665"/>
                  </a:lnTo>
                  <a:cubicBezTo>
                    <a:pt x="176" y="22746"/>
                    <a:pt x="354" y="22823"/>
                    <a:pt x="533" y="22897"/>
                  </a:cubicBezTo>
                  <a:lnTo>
                    <a:pt x="22897" y="533"/>
                  </a:lnTo>
                  <a:cubicBezTo>
                    <a:pt x="22823" y="354"/>
                    <a:pt x="22747" y="177"/>
                    <a:pt x="226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53" name="Google Shape;53;p2"/>
          <p:cNvCxnSpPr/>
          <p:nvPr/>
        </p:nvCxnSpPr>
        <p:spPr>
          <a:xfrm>
            <a:off x="810959" y="719996"/>
            <a:ext cx="0" cy="462300"/>
          </a:xfrm>
          <a:prstGeom prst="straightConnector1">
            <a:avLst/>
          </a:prstGeom>
          <a:noFill/>
          <a:ln w="9525" cap="flat" cmpd="sng">
            <a:solidFill>
              <a:schemeClr val="dk2"/>
            </a:solidFill>
            <a:prstDash val="solid"/>
            <a:round/>
            <a:headEnd type="none" w="med" len="med"/>
            <a:tailEnd type="none" w="med" len="med"/>
          </a:ln>
        </p:spPr>
      </p:cxnSp>
      <p:sp>
        <p:nvSpPr>
          <p:cNvPr id="54" name="Google Shape;54;p2"/>
          <p:cNvSpPr txBox="1">
            <a:spLocks noGrp="1"/>
          </p:cNvSpPr>
          <p:nvPr>
            <p:ph type="subTitle" idx="6"/>
          </p:nvPr>
        </p:nvSpPr>
        <p:spPr>
          <a:xfrm>
            <a:off x="5539750" y="720000"/>
            <a:ext cx="1106700" cy="462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latin typeface="Nunito"/>
                <a:ea typeface="Nunito"/>
                <a:cs typeface="Nunito"/>
                <a:sym typeface="Nunito"/>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hanks">
  <p:cSld name="BLANK_1_1_1_1_1_1_2">
    <p:spTree>
      <p:nvGrpSpPr>
        <p:cNvPr id="1" name="Shape 1103"/>
        <p:cNvGrpSpPr/>
        <p:nvPr/>
      </p:nvGrpSpPr>
      <p:grpSpPr>
        <a:xfrm>
          <a:off x="0" y="0"/>
          <a:ext cx="0" cy="0"/>
          <a:chOff x="0" y="0"/>
          <a:chExt cx="0" cy="0"/>
        </a:xfrm>
      </p:grpSpPr>
      <p:sp>
        <p:nvSpPr>
          <p:cNvPr id="1104" name="Google Shape;1104;p28"/>
          <p:cNvSpPr txBox="1">
            <a:spLocks noGrp="1"/>
          </p:cNvSpPr>
          <p:nvPr>
            <p:ph type="ctrTitle"/>
          </p:nvPr>
        </p:nvSpPr>
        <p:spPr>
          <a:xfrm>
            <a:off x="1952775" y="787250"/>
            <a:ext cx="5238300" cy="15021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5200"/>
              <a:buNone/>
              <a:defRPr sz="6500"/>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1105" name="Google Shape;1105;p28"/>
          <p:cNvSpPr txBox="1">
            <a:spLocks noGrp="1"/>
          </p:cNvSpPr>
          <p:nvPr>
            <p:ph type="subTitle" idx="1"/>
          </p:nvPr>
        </p:nvSpPr>
        <p:spPr>
          <a:xfrm>
            <a:off x="2679300" y="3392000"/>
            <a:ext cx="3785400" cy="1253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lvl1pPr>
            <a:lvl2pPr lvl="1" algn="ctr" rtl="0">
              <a:lnSpc>
                <a:spcPct val="100000"/>
              </a:lnSpc>
              <a:spcBef>
                <a:spcPts val="0"/>
              </a:spcBef>
              <a:spcAft>
                <a:spcPts val="0"/>
              </a:spcAft>
              <a:buSzPts val="1800"/>
              <a:buNone/>
              <a:defRPr sz="1800"/>
            </a:lvl2pPr>
            <a:lvl3pPr lvl="2" algn="ctr" rtl="0">
              <a:lnSpc>
                <a:spcPct val="100000"/>
              </a:lnSpc>
              <a:spcBef>
                <a:spcPts val="0"/>
              </a:spcBef>
              <a:spcAft>
                <a:spcPts val="0"/>
              </a:spcAft>
              <a:buSzPts val="1800"/>
              <a:buNone/>
              <a:defRPr sz="1800"/>
            </a:lvl3pPr>
            <a:lvl4pPr lvl="3" algn="ctr" rtl="0">
              <a:lnSpc>
                <a:spcPct val="100000"/>
              </a:lnSpc>
              <a:spcBef>
                <a:spcPts val="0"/>
              </a:spcBef>
              <a:spcAft>
                <a:spcPts val="0"/>
              </a:spcAft>
              <a:buSzPts val="1800"/>
              <a:buNone/>
              <a:defRPr sz="1800"/>
            </a:lvl4pPr>
            <a:lvl5pPr lvl="4" algn="ctr" rtl="0">
              <a:lnSpc>
                <a:spcPct val="100000"/>
              </a:lnSpc>
              <a:spcBef>
                <a:spcPts val="0"/>
              </a:spcBef>
              <a:spcAft>
                <a:spcPts val="0"/>
              </a:spcAft>
              <a:buSzPts val="1800"/>
              <a:buNone/>
              <a:defRPr sz="1800"/>
            </a:lvl5pPr>
            <a:lvl6pPr lvl="5" algn="ctr" rtl="0">
              <a:lnSpc>
                <a:spcPct val="100000"/>
              </a:lnSpc>
              <a:spcBef>
                <a:spcPts val="0"/>
              </a:spcBef>
              <a:spcAft>
                <a:spcPts val="0"/>
              </a:spcAft>
              <a:buSzPts val="1800"/>
              <a:buNone/>
              <a:defRPr sz="1800"/>
            </a:lvl6pPr>
            <a:lvl7pPr lvl="6" algn="ctr" rtl="0">
              <a:lnSpc>
                <a:spcPct val="100000"/>
              </a:lnSpc>
              <a:spcBef>
                <a:spcPts val="0"/>
              </a:spcBef>
              <a:spcAft>
                <a:spcPts val="0"/>
              </a:spcAft>
              <a:buSzPts val="1800"/>
              <a:buNone/>
              <a:defRPr sz="1800"/>
            </a:lvl7pPr>
            <a:lvl8pPr lvl="7" algn="ctr" rtl="0">
              <a:lnSpc>
                <a:spcPct val="100000"/>
              </a:lnSpc>
              <a:spcBef>
                <a:spcPts val="0"/>
              </a:spcBef>
              <a:spcAft>
                <a:spcPts val="0"/>
              </a:spcAft>
              <a:buSzPts val="1800"/>
              <a:buNone/>
              <a:defRPr sz="1800"/>
            </a:lvl8pPr>
            <a:lvl9pPr lvl="8" algn="ctr" rtl="0">
              <a:lnSpc>
                <a:spcPct val="100000"/>
              </a:lnSpc>
              <a:spcBef>
                <a:spcPts val="0"/>
              </a:spcBef>
              <a:spcAft>
                <a:spcPts val="0"/>
              </a:spcAft>
              <a:buSzPts val="1800"/>
              <a:buNone/>
              <a:defRPr sz="1800"/>
            </a:lvl9pPr>
          </a:lstStyle>
          <a:p>
            <a:endParaRPr/>
          </a:p>
        </p:txBody>
      </p:sp>
      <p:sp>
        <p:nvSpPr>
          <p:cNvPr id="1106" name="Google Shape;1106;p28"/>
          <p:cNvSpPr txBox="1">
            <a:spLocks noGrp="1"/>
          </p:cNvSpPr>
          <p:nvPr>
            <p:ph type="subTitle" idx="2"/>
          </p:nvPr>
        </p:nvSpPr>
        <p:spPr>
          <a:xfrm>
            <a:off x="2679300" y="5707465"/>
            <a:ext cx="3785400" cy="3633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100"/>
              <a:buNone/>
              <a:defRPr sz="1100"/>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
        <p:nvSpPr>
          <p:cNvPr id="1107" name="Google Shape;1107;p28"/>
          <p:cNvSpPr txBox="1"/>
          <p:nvPr/>
        </p:nvSpPr>
        <p:spPr>
          <a:xfrm>
            <a:off x="2960700" y="4816588"/>
            <a:ext cx="3222600" cy="720000"/>
          </a:xfrm>
          <a:prstGeom prst="rect">
            <a:avLst/>
          </a:prstGeom>
          <a:noFill/>
          <a:ln>
            <a:noFill/>
          </a:ln>
        </p:spPr>
        <p:txBody>
          <a:bodyPr spcFirstLastPara="1" wrap="square" lIns="91425" tIns="91425" rIns="91425" bIns="91425" anchor="t" anchorCtr="0">
            <a:noAutofit/>
          </a:bodyPr>
          <a:lstStyle/>
          <a:p>
            <a:pPr marL="0" lvl="0" indent="0" algn="ctr" rtl="0">
              <a:spcBef>
                <a:spcPts val="300"/>
              </a:spcBef>
              <a:spcAft>
                <a:spcPts val="0"/>
              </a:spcAft>
              <a:buNone/>
            </a:pPr>
            <a:r>
              <a:rPr lang="en" sz="1100" b="1">
                <a:solidFill>
                  <a:schemeClr val="dk2"/>
                </a:solidFill>
                <a:latin typeface="Nunito"/>
                <a:ea typeface="Nunito"/>
                <a:cs typeface="Nunito"/>
                <a:sym typeface="Nunito"/>
              </a:rPr>
              <a:t>CREDITS: </a:t>
            </a:r>
            <a:r>
              <a:rPr lang="en" sz="1100">
                <a:solidFill>
                  <a:schemeClr val="dk1"/>
                </a:solidFill>
                <a:latin typeface="Nunito"/>
                <a:ea typeface="Nunito"/>
                <a:cs typeface="Nunito"/>
                <a:sym typeface="Nunito"/>
              </a:rPr>
              <a:t>This presentation template was created by </a:t>
            </a:r>
            <a:r>
              <a:rPr lang="en" sz="1100" b="1">
                <a:solidFill>
                  <a:schemeClr val="dk2"/>
                </a:solidFill>
                <a:uFill>
                  <a:noFill/>
                </a:uFill>
                <a:latin typeface="Nunito"/>
                <a:ea typeface="Nunito"/>
                <a:cs typeface="Nunito"/>
                <a:sym typeface="Nunito"/>
                <a:hlinkClick r:id="rId2">
                  <a:extLst>
                    <a:ext uri="{A12FA001-AC4F-418D-AE19-62706E023703}">
                      <ahyp:hlinkClr xmlns:ahyp="http://schemas.microsoft.com/office/drawing/2018/hyperlinkcolor" val="tx"/>
                    </a:ext>
                  </a:extLst>
                </a:hlinkClick>
              </a:rPr>
              <a:t>Slidesgo</a:t>
            </a:r>
            <a:r>
              <a:rPr lang="en" sz="1100" b="1">
                <a:solidFill>
                  <a:schemeClr val="dk2"/>
                </a:solidFill>
                <a:latin typeface="Nunito"/>
                <a:ea typeface="Nunito"/>
                <a:cs typeface="Nunito"/>
                <a:sym typeface="Nunito"/>
              </a:rPr>
              <a:t>, </a:t>
            </a:r>
            <a:r>
              <a:rPr lang="en" sz="1100">
                <a:solidFill>
                  <a:schemeClr val="dk1"/>
                </a:solidFill>
                <a:latin typeface="Nunito"/>
                <a:ea typeface="Nunito"/>
                <a:cs typeface="Nunito"/>
                <a:sym typeface="Nunito"/>
              </a:rPr>
              <a:t>including icons by </a:t>
            </a:r>
            <a:r>
              <a:rPr lang="en" sz="1100" b="1">
                <a:solidFill>
                  <a:schemeClr val="dk2"/>
                </a:solidFill>
                <a:uFill>
                  <a:noFill/>
                </a:uFill>
                <a:latin typeface="Nunito"/>
                <a:ea typeface="Nunito"/>
                <a:cs typeface="Nunito"/>
                <a:sym typeface="Nunito"/>
                <a:hlinkClick r:id="rId3">
                  <a:extLst>
                    <a:ext uri="{A12FA001-AC4F-418D-AE19-62706E023703}">
                      <ahyp:hlinkClr xmlns:ahyp="http://schemas.microsoft.com/office/drawing/2018/hyperlinkcolor" val="tx"/>
                    </a:ext>
                  </a:extLst>
                </a:hlinkClick>
              </a:rPr>
              <a:t>Flaticon</a:t>
            </a:r>
            <a:r>
              <a:rPr lang="en" sz="1100" b="1">
                <a:solidFill>
                  <a:schemeClr val="dk2"/>
                </a:solidFill>
                <a:latin typeface="Nunito"/>
                <a:ea typeface="Nunito"/>
                <a:cs typeface="Nunito"/>
                <a:sym typeface="Nunito"/>
              </a:rPr>
              <a:t>, </a:t>
            </a:r>
            <a:r>
              <a:rPr lang="en" sz="1100">
                <a:solidFill>
                  <a:schemeClr val="dk1"/>
                </a:solidFill>
                <a:latin typeface="Nunito"/>
                <a:ea typeface="Nunito"/>
                <a:cs typeface="Nunito"/>
                <a:sym typeface="Nunito"/>
              </a:rPr>
              <a:t>and infographics &amp; images by </a:t>
            </a:r>
            <a:r>
              <a:rPr lang="en" sz="1100" b="1">
                <a:solidFill>
                  <a:schemeClr val="dk2"/>
                </a:solidFill>
                <a:uFill>
                  <a:noFill/>
                </a:uFill>
                <a:latin typeface="Nunito"/>
                <a:ea typeface="Nunito"/>
                <a:cs typeface="Nunito"/>
                <a:sym typeface="Nunito"/>
                <a:hlinkClick r:id="rId4">
                  <a:extLst>
                    <a:ext uri="{A12FA001-AC4F-418D-AE19-62706E023703}">
                      <ahyp:hlinkClr xmlns:ahyp="http://schemas.microsoft.com/office/drawing/2018/hyperlinkcolor" val="tx"/>
                    </a:ext>
                  </a:extLst>
                </a:hlinkClick>
              </a:rPr>
              <a:t>Freepik</a:t>
            </a:r>
            <a:endParaRPr sz="1100" b="1">
              <a:solidFill>
                <a:schemeClr val="dk2"/>
              </a:solidFill>
              <a:latin typeface="Nunito"/>
              <a:ea typeface="Nunito"/>
              <a:cs typeface="Nunito"/>
              <a:sym typeface="Nunito"/>
            </a:endParaRPr>
          </a:p>
        </p:txBody>
      </p:sp>
      <p:cxnSp>
        <p:nvCxnSpPr>
          <p:cNvPr id="1108" name="Google Shape;1108;p28"/>
          <p:cNvCxnSpPr/>
          <p:nvPr/>
        </p:nvCxnSpPr>
        <p:spPr>
          <a:xfrm>
            <a:off x="8516600" y="6520375"/>
            <a:ext cx="306000" cy="0"/>
          </a:xfrm>
          <a:prstGeom prst="straightConnector1">
            <a:avLst/>
          </a:prstGeom>
          <a:noFill/>
          <a:ln w="9525" cap="flat" cmpd="sng">
            <a:solidFill>
              <a:schemeClr val="dk2"/>
            </a:solidFill>
            <a:prstDash val="solid"/>
            <a:round/>
            <a:headEnd type="none" w="med" len="med"/>
            <a:tailEnd type="stealth" w="med" len="med"/>
          </a:ln>
        </p:spPr>
      </p:cxnSp>
      <p:cxnSp>
        <p:nvCxnSpPr>
          <p:cNvPr id="1109" name="Google Shape;1109;p28"/>
          <p:cNvCxnSpPr/>
          <p:nvPr/>
        </p:nvCxnSpPr>
        <p:spPr>
          <a:xfrm rot="10800000">
            <a:off x="8025400" y="6520375"/>
            <a:ext cx="306000" cy="0"/>
          </a:xfrm>
          <a:prstGeom prst="straightConnector1">
            <a:avLst/>
          </a:prstGeom>
          <a:noFill/>
          <a:ln w="9525" cap="flat" cmpd="sng">
            <a:solidFill>
              <a:schemeClr val="dk2"/>
            </a:solidFill>
            <a:prstDash val="solid"/>
            <a:round/>
            <a:headEnd type="none" w="med" len="med"/>
            <a:tailEnd type="stealth" w="med" len="med"/>
          </a:ln>
        </p:spPr>
      </p:cxnSp>
      <p:sp>
        <p:nvSpPr>
          <p:cNvPr id="1110" name="Google Shape;1110;p28"/>
          <p:cNvSpPr/>
          <p:nvPr/>
        </p:nvSpPr>
        <p:spPr>
          <a:xfrm flipH="1">
            <a:off x="-12" y="5779258"/>
            <a:ext cx="1051082" cy="1078754"/>
          </a:xfrm>
          <a:custGeom>
            <a:avLst/>
            <a:gdLst/>
            <a:ahLst/>
            <a:cxnLst/>
            <a:rect l="l" t="t" r="r" b="b"/>
            <a:pathLst>
              <a:path w="17415" h="17414" extrusionOk="0">
                <a:moveTo>
                  <a:pt x="17200" y="216"/>
                </a:moveTo>
                <a:lnTo>
                  <a:pt x="17200" y="4300"/>
                </a:lnTo>
                <a:lnTo>
                  <a:pt x="13116" y="4300"/>
                </a:lnTo>
                <a:lnTo>
                  <a:pt x="13116" y="216"/>
                </a:lnTo>
                <a:close/>
                <a:moveTo>
                  <a:pt x="12899" y="4515"/>
                </a:moveTo>
                <a:lnTo>
                  <a:pt x="12899" y="8598"/>
                </a:lnTo>
                <a:lnTo>
                  <a:pt x="8816" y="8598"/>
                </a:lnTo>
                <a:lnTo>
                  <a:pt x="8816" y="4515"/>
                </a:lnTo>
                <a:close/>
                <a:moveTo>
                  <a:pt x="17200" y="4515"/>
                </a:moveTo>
                <a:lnTo>
                  <a:pt x="17200" y="8598"/>
                </a:lnTo>
                <a:lnTo>
                  <a:pt x="13116" y="8598"/>
                </a:lnTo>
                <a:lnTo>
                  <a:pt x="13116" y="4515"/>
                </a:lnTo>
                <a:close/>
                <a:moveTo>
                  <a:pt x="8600" y="8815"/>
                </a:moveTo>
                <a:lnTo>
                  <a:pt x="8600" y="12898"/>
                </a:lnTo>
                <a:lnTo>
                  <a:pt x="4518" y="12898"/>
                </a:lnTo>
                <a:lnTo>
                  <a:pt x="4518" y="8815"/>
                </a:lnTo>
                <a:close/>
                <a:moveTo>
                  <a:pt x="12899" y="8817"/>
                </a:moveTo>
                <a:lnTo>
                  <a:pt x="12899" y="12899"/>
                </a:lnTo>
                <a:lnTo>
                  <a:pt x="8816" y="12899"/>
                </a:lnTo>
                <a:lnTo>
                  <a:pt x="8816" y="8817"/>
                </a:lnTo>
                <a:close/>
                <a:moveTo>
                  <a:pt x="17200" y="8817"/>
                </a:moveTo>
                <a:lnTo>
                  <a:pt x="17200" y="12899"/>
                </a:lnTo>
                <a:lnTo>
                  <a:pt x="13116" y="12899"/>
                </a:lnTo>
                <a:lnTo>
                  <a:pt x="13116" y="8817"/>
                </a:lnTo>
                <a:close/>
                <a:moveTo>
                  <a:pt x="4301" y="13116"/>
                </a:moveTo>
                <a:lnTo>
                  <a:pt x="4301" y="17199"/>
                </a:lnTo>
                <a:lnTo>
                  <a:pt x="216" y="17199"/>
                </a:lnTo>
                <a:lnTo>
                  <a:pt x="216" y="13116"/>
                </a:lnTo>
                <a:close/>
                <a:moveTo>
                  <a:pt x="8600" y="13116"/>
                </a:moveTo>
                <a:lnTo>
                  <a:pt x="8600" y="17199"/>
                </a:lnTo>
                <a:lnTo>
                  <a:pt x="4516" y="17199"/>
                </a:lnTo>
                <a:lnTo>
                  <a:pt x="4516" y="13116"/>
                </a:lnTo>
                <a:close/>
                <a:moveTo>
                  <a:pt x="12899" y="13116"/>
                </a:moveTo>
                <a:lnTo>
                  <a:pt x="12899" y="17199"/>
                </a:lnTo>
                <a:lnTo>
                  <a:pt x="8816" y="17199"/>
                </a:lnTo>
                <a:lnTo>
                  <a:pt x="8816" y="13116"/>
                </a:lnTo>
                <a:close/>
                <a:moveTo>
                  <a:pt x="17200" y="13116"/>
                </a:moveTo>
                <a:lnTo>
                  <a:pt x="17200" y="17199"/>
                </a:lnTo>
                <a:lnTo>
                  <a:pt x="13116" y="17199"/>
                </a:lnTo>
                <a:lnTo>
                  <a:pt x="13116" y="13116"/>
                </a:lnTo>
                <a:close/>
                <a:moveTo>
                  <a:pt x="12899" y="0"/>
                </a:moveTo>
                <a:lnTo>
                  <a:pt x="12899" y="4300"/>
                </a:lnTo>
                <a:lnTo>
                  <a:pt x="8600" y="4300"/>
                </a:lnTo>
                <a:lnTo>
                  <a:pt x="8600" y="8598"/>
                </a:lnTo>
                <a:lnTo>
                  <a:pt x="4301" y="8598"/>
                </a:lnTo>
                <a:lnTo>
                  <a:pt x="4301" y="12898"/>
                </a:lnTo>
                <a:lnTo>
                  <a:pt x="1" y="12898"/>
                </a:lnTo>
                <a:lnTo>
                  <a:pt x="1" y="17413"/>
                </a:lnTo>
                <a:lnTo>
                  <a:pt x="17414" y="17413"/>
                </a:lnTo>
                <a:lnTo>
                  <a:pt x="17414" y="13113"/>
                </a:lnTo>
                <a:lnTo>
                  <a:pt x="17414" y="12898"/>
                </a:lnTo>
                <a:lnTo>
                  <a:pt x="17414" y="8815"/>
                </a:lnTo>
                <a:lnTo>
                  <a:pt x="17414" y="8598"/>
                </a:lnTo>
                <a:lnTo>
                  <a:pt x="17414" y="4515"/>
                </a:lnTo>
                <a:lnTo>
                  <a:pt x="17414" y="4300"/>
                </a:lnTo>
                <a:lnTo>
                  <a:pt x="17414"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1" name="Google Shape;1111;p28"/>
          <p:cNvGrpSpPr/>
          <p:nvPr/>
        </p:nvGrpSpPr>
        <p:grpSpPr>
          <a:xfrm rot="5400000">
            <a:off x="290692" y="1143598"/>
            <a:ext cx="1051086" cy="203895"/>
            <a:chOff x="2704450" y="2501175"/>
            <a:chExt cx="809150" cy="152925"/>
          </a:xfrm>
        </p:grpSpPr>
        <p:sp>
          <p:nvSpPr>
            <p:cNvPr id="1112" name="Google Shape;1112;p28"/>
            <p:cNvSpPr/>
            <p:nvPr/>
          </p:nvSpPr>
          <p:spPr>
            <a:xfrm>
              <a:off x="3493275" y="2501175"/>
              <a:ext cx="20325" cy="20275"/>
            </a:xfrm>
            <a:custGeom>
              <a:avLst/>
              <a:gdLst/>
              <a:ahLst/>
              <a:cxnLst/>
              <a:rect l="l" t="t" r="r" b="b"/>
              <a:pathLst>
                <a:path w="813" h="811" extrusionOk="0">
                  <a:moveTo>
                    <a:pt x="406" y="0"/>
                  </a:moveTo>
                  <a:cubicBezTo>
                    <a:pt x="182" y="0"/>
                    <a:pt x="0" y="181"/>
                    <a:pt x="0" y="405"/>
                  </a:cubicBezTo>
                  <a:cubicBezTo>
                    <a:pt x="0" y="630"/>
                    <a:pt x="182" y="811"/>
                    <a:pt x="406" y="811"/>
                  </a:cubicBezTo>
                  <a:cubicBezTo>
                    <a:pt x="630" y="811"/>
                    <a:pt x="812" y="630"/>
                    <a:pt x="812" y="405"/>
                  </a:cubicBezTo>
                  <a:cubicBezTo>
                    <a:pt x="812" y="181"/>
                    <a:pt x="630" y="0"/>
                    <a:pt x="40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3" name="Google Shape;1113;p28"/>
            <p:cNvSpPr/>
            <p:nvPr/>
          </p:nvSpPr>
          <p:spPr>
            <a:xfrm>
              <a:off x="3493275" y="2633775"/>
              <a:ext cx="20325" cy="20325"/>
            </a:xfrm>
            <a:custGeom>
              <a:avLst/>
              <a:gdLst/>
              <a:ahLst/>
              <a:cxnLst/>
              <a:rect l="l" t="t" r="r" b="b"/>
              <a:pathLst>
                <a:path w="813" h="813" extrusionOk="0">
                  <a:moveTo>
                    <a:pt x="406" y="1"/>
                  </a:moveTo>
                  <a:cubicBezTo>
                    <a:pt x="182" y="1"/>
                    <a:pt x="0" y="181"/>
                    <a:pt x="0" y="406"/>
                  </a:cubicBezTo>
                  <a:cubicBezTo>
                    <a:pt x="0" y="631"/>
                    <a:pt x="182" y="813"/>
                    <a:pt x="406" y="813"/>
                  </a:cubicBezTo>
                  <a:cubicBezTo>
                    <a:pt x="630" y="813"/>
                    <a:pt x="812" y="631"/>
                    <a:pt x="812" y="406"/>
                  </a:cubicBezTo>
                  <a:cubicBezTo>
                    <a:pt x="812" y="181"/>
                    <a:pt x="630" y="1"/>
                    <a:pt x="40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4" name="Google Shape;1114;p28"/>
            <p:cNvSpPr/>
            <p:nvPr/>
          </p:nvSpPr>
          <p:spPr>
            <a:xfrm>
              <a:off x="3361800" y="2501175"/>
              <a:ext cx="20325" cy="20275"/>
            </a:xfrm>
            <a:custGeom>
              <a:avLst/>
              <a:gdLst/>
              <a:ahLst/>
              <a:cxnLst/>
              <a:rect l="l" t="t" r="r" b="b"/>
              <a:pathLst>
                <a:path w="813" h="811" extrusionOk="0">
                  <a:moveTo>
                    <a:pt x="406" y="0"/>
                  </a:moveTo>
                  <a:cubicBezTo>
                    <a:pt x="182" y="0"/>
                    <a:pt x="0" y="181"/>
                    <a:pt x="0" y="405"/>
                  </a:cubicBezTo>
                  <a:cubicBezTo>
                    <a:pt x="0" y="630"/>
                    <a:pt x="182" y="811"/>
                    <a:pt x="406" y="811"/>
                  </a:cubicBezTo>
                  <a:cubicBezTo>
                    <a:pt x="630" y="811"/>
                    <a:pt x="812" y="630"/>
                    <a:pt x="812" y="405"/>
                  </a:cubicBezTo>
                  <a:cubicBezTo>
                    <a:pt x="812" y="181"/>
                    <a:pt x="630" y="0"/>
                    <a:pt x="40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 name="Google Shape;1115;p28"/>
            <p:cNvSpPr/>
            <p:nvPr/>
          </p:nvSpPr>
          <p:spPr>
            <a:xfrm>
              <a:off x="3361800" y="2633775"/>
              <a:ext cx="20325" cy="20325"/>
            </a:xfrm>
            <a:custGeom>
              <a:avLst/>
              <a:gdLst/>
              <a:ahLst/>
              <a:cxnLst/>
              <a:rect l="l" t="t" r="r" b="b"/>
              <a:pathLst>
                <a:path w="813" h="813" extrusionOk="0">
                  <a:moveTo>
                    <a:pt x="406" y="1"/>
                  </a:moveTo>
                  <a:cubicBezTo>
                    <a:pt x="182" y="1"/>
                    <a:pt x="0" y="181"/>
                    <a:pt x="0" y="406"/>
                  </a:cubicBezTo>
                  <a:cubicBezTo>
                    <a:pt x="0" y="631"/>
                    <a:pt x="182" y="813"/>
                    <a:pt x="406" y="813"/>
                  </a:cubicBezTo>
                  <a:cubicBezTo>
                    <a:pt x="630" y="813"/>
                    <a:pt x="812" y="631"/>
                    <a:pt x="812" y="406"/>
                  </a:cubicBezTo>
                  <a:cubicBezTo>
                    <a:pt x="812" y="181"/>
                    <a:pt x="630" y="1"/>
                    <a:pt x="40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 name="Google Shape;1116;p28"/>
            <p:cNvSpPr/>
            <p:nvPr/>
          </p:nvSpPr>
          <p:spPr>
            <a:xfrm>
              <a:off x="3230325" y="2501175"/>
              <a:ext cx="20325" cy="20275"/>
            </a:xfrm>
            <a:custGeom>
              <a:avLst/>
              <a:gdLst/>
              <a:ahLst/>
              <a:cxnLst/>
              <a:rect l="l" t="t" r="r" b="b"/>
              <a:pathLst>
                <a:path w="813" h="811" extrusionOk="0">
                  <a:moveTo>
                    <a:pt x="406" y="0"/>
                  </a:moveTo>
                  <a:cubicBezTo>
                    <a:pt x="182" y="0"/>
                    <a:pt x="0" y="181"/>
                    <a:pt x="0" y="405"/>
                  </a:cubicBezTo>
                  <a:cubicBezTo>
                    <a:pt x="0" y="630"/>
                    <a:pt x="182" y="811"/>
                    <a:pt x="406" y="811"/>
                  </a:cubicBezTo>
                  <a:cubicBezTo>
                    <a:pt x="630" y="811"/>
                    <a:pt x="812" y="630"/>
                    <a:pt x="812" y="405"/>
                  </a:cubicBezTo>
                  <a:cubicBezTo>
                    <a:pt x="812" y="181"/>
                    <a:pt x="630" y="0"/>
                    <a:pt x="40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 name="Google Shape;1117;p28"/>
            <p:cNvSpPr/>
            <p:nvPr/>
          </p:nvSpPr>
          <p:spPr>
            <a:xfrm>
              <a:off x="3230325" y="2633775"/>
              <a:ext cx="20325" cy="20325"/>
            </a:xfrm>
            <a:custGeom>
              <a:avLst/>
              <a:gdLst/>
              <a:ahLst/>
              <a:cxnLst/>
              <a:rect l="l" t="t" r="r" b="b"/>
              <a:pathLst>
                <a:path w="813" h="813" extrusionOk="0">
                  <a:moveTo>
                    <a:pt x="406" y="1"/>
                  </a:moveTo>
                  <a:cubicBezTo>
                    <a:pt x="182" y="1"/>
                    <a:pt x="0" y="181"/>
                    <a:pt x="0" y="406"/>
                  </a:cubicBezTo>
                  <a:cubicBezTo>
                    <a:pt x="0" y="631"/>
                    <a:pt x="182" y="813"/>
                    <a:pt x="406" y="813"/>
                  </a:cubicBezTo>
                  <a:cubicBezTo>
                    <a:pt x="630" y="813"/>
                    <a:pt x="812" y="631"/>
                    <a:pt x="812" y="406"/>
                  </a:cubicBezTo>
                  <a:cubicBezTo>
                    <a:pt x="812" y="181"/>
                    <a:pt x="630" y="1"/>
                    <a:pt x="40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8" name="Google Shape;1118;p28"/>
            <p:cNvSpPr/>
            <p:nvPr/>
          </p:nvSpPr>
          <p:spPr>
            <a:xfrm>
              <a:off x="3098850" y="2501175"/>
              <a:ext cx="20325" cy="20275"/>
            </a:xfrm>
            <a:custGeom>
              <a:avLst/>
              <a:gdLst/>
              <a:ahLst/>
              <a:cxnLst/>
              <a:rect l="l" t="t" r="r" b="b"/>
              <a:pathLst>
                <a:path w="813" h="811" extrusionOk="0">
                  <a:moveTo>
                    <a:pt x="406" y="0"/>
                  </a:moveTo>
                  <a:cubicBezTo>
                    <a:pt x="182" y="0"/>
                    <a:pt x="0" y="181"/>
                    <a:pt x="0" y="405"/>
                  </a:cubicBezTo>
                  <a:cubicBezTo>
                    <a:pt x="0" y="630"/>
                    <a:pt x="182" y="811"/>
                    <a:pt x="406" y="811"/>
                  </a:cubicBezTo>
                  <a:cubicBezTo>
                    <a:pt x="630" y="811"/>
                    <a:pt x="812" y="630"/>
                    <a:pt x="812" y="405"/>
                  </a:cubicBezTo>
                  <a:cubicBezTo>
                    <a:pt x="812" y="181"/>
                    <a:pt x="630" y="0"/>
                    <a:pt x="40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9" name="Google Shape;1119;p28"/>
            <p:cNvSpPr/>
            <p:nvPr/>
          </p:nvSpPr>
          <p:spPr>
            <a:xfrm>
              <a:off x="3098850" y="2633775"/>
              <a:ext cx="20325" cy="20325"/>
            </a:xfrm>
            <a:custGeom>
              <a:avLst/>
              <a:gdLst/>
              <a:ahLst/>
              <a:cxnLst/>
              <a:rect l="l" t="t" r="r" b="b"/>
              <a:pathLst>
                <a:path w="813" h="813" extrusionOk="0">
                  <a:moveTo>
                    <a:pt x="406" y="1"/>
                  </a:moveTo>
                  <a:cubicBezTo>
                    <a:pt x="182" y="1"/>
                    <a:pt x="0" y="181"/>
                    <a:pt x="0" y="406"/>
                  </a:cubicBezTo>
                  <a:cubicBezTo>
                    <a:pt x="0" y="631"/>
                    <a:pt x="182" y="813"/>
                    <a:pt x="406" y="813"/>
                  </a:cubicBezTo>
                  <a:cubicBezTo>
                    <a:pt x="630" y="813"/>
                    <a:pt x="812" y="631"/>
                    <a:pt x="812" y="406"/>
                  </a:cubicBezTo>
                  <a:cubicBezTo>
                    <a:pt x="812" y="181"/>
                    <a:pt x="630" y="1"/>
                    <a:pt x="40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0" name="Google Shape;1120;p28"/>
            <p:cNvSpPr/>
            <p:nvPr/>
          </p:nvSpPr>
          <p:spPr>
            <a:xfrm>
              <a:off x="2967375" y="2501175"/>
              <a:ext cx="20350" cy="20275"/>
            </a:xfrm>
            <a:custGeom>
              <a:avLst/>
              <a:gdLst/>
              <a:ahLst/>
              <a:cxnLst/>
              <a:rect l="l" t="t" r="r" b="b"/>
              <a:pathLst>
                <a:path w="814" h="811" extrusionOk="0">
                  <a:moveTo>
                    <a:pt x="406" y="0"/>
                  </a:moveTo>
                  <a:cubicBezTo>
                    <a:pt x="182" y="0"/>
                    <a:pt x="0" y="182"/>
                    <a:pt x="0" y="405"/>
                  </a:cubicBezTo>
                  <a:cubicBezTo>
                    <a:pt x="0" y="628"/>
                    <a:pt x="182" y="811"/>
                    <a:pt x="406" y="811"/>
                  </a:cubicBezTo>
                  <a:cubicBezTo>
                    <a:pt x="632" y="811"/>
                    <a:pt x="814" y="630"/>
                    <a:pt x="812" y="405"/>
                  </a:cubicBezTo>
                  <a:cubicBezTo>
                    <a:pt x="812" y="182"/>
                    <a:pt x="630" y="0"/>
                    <a:pt x="40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28"/>
            <p:cNvSpPr/>
            <p:nvPr/>
          </p:nvSpPr>
          <p:spPr>
            <a:xfrm>
              <a:off x="2967375" y="2633775"/>
              <a:ext cx="20350" cy="20325"/>
            </a:xfrm>
            <a:custGeom>
              <a:avLst/>
              <a:gdLst/>
              <a:ahLst/>
              <a:cxnLst/>
              <a:rect l="l" t="t" r="r" b="b"/>
              <a:pathLst>
                <a:path w="814" h="813" extrusionOk="0">
                  <a:moveTo>
                    <a:pt x="406" y="1"/>
                  </a:moveTo>
                  <a:cubicBezTo>
                    <a:pt x="182" y="1"/>
                    <a:pt x="0" y="183"/>
                    <a:pt x="0" y="406"/>
                  </a:cubicBezTo>
                  <a:cubicBezTo>
                    <a:pt x="0" y="629"/>
                    <a:pt x="182" y="813"/>
                    <a:pt x="406" y="813"/>
                  </a:cubicBezTo>
                  <a:cubicBezTo>
                    <a:pt x="632" y="813"/>
                    <a:pt x="814" y="629"/>
                    <a:pt x="812" y="406"/>
                  </a:cubicBezTo>
                  <a:cubicBezTo>
                    <a:pt x="812" y="183"/>
                    <a:pt x="630" y="1"/>
                    <a:pt x="40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2" name="Google Shape;1122;p28"/>
            <p:cNvSpPr/>
            <p:nvPr/>
          </p:nvSpPr>
          <p:spPr>
            <a:xfrm>
              <a:off x="2835925" y="2501175"/>
              <a:ext cx="20325" cy="20275"/>
            </a:xfrm>
            <a:custGeom>
              <a:avLst/>
              <a:gdLst/>
              <a:ahLst/>
              <a:cxnLst/>
              <a:rect l="l" t="t" r="r" b="b"/>
              <a:pathLst>
                <a:path w="813" h="811" extrusionOk="0">
                  <a:moveTo>
                    <a:pt x="408" y="0"/>
                  </a:moveTo>
                  <a:cubicBezTo>
                    <a:pt x="183" y="0"/>
                    <a:pt x="1" y="181"/>
                    <a:pt x="1" y="405"/>
                  </a:cubicBezTo>
                  <a:cubicBezTo>
                    <a:pt x="1" y="630"/>
                    <a:pt x="183" y="811"/>
                    <a:pt x="408" y="811"/>
                  </a:cubicBezTo>
                  <a:cubicBezTo>
                    <a:pt x="631" y="811"/>
                    <a:pt x="813" y="630"/>
                    <a:pt x="813" y="405"/>
                  </a:cubicBezTo>
                  <a:cubicBezTo>
                    <a:pt x="813" y="181"/>
                    <a:pt x="631" y="0"/>
                    <a:pt x="408"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3" name="Google Shape;1123;p28"/>
            <p:cNvSpPr/>
            <p:nvPr/>
          </p:nvSpPr>
          <p:spPr>
            <a:xfrm>
              <a:off x="2835925" y="2633775"/>
              <a:ext cx="20325" cy="20325"/>
            </a:xfrm>
            <a:custGeom>
              <a:avLst/>
              <a:gdLst/>
              <a:ahLst/>
              <a:cxnLst/>
              <a:rect l="l" t="t" r="r" b="b"/>
              <a:pathLst>
                <a:path w="813" h="813" extrusionOk="0">
                  <a:moveTo>
                    <a:pt x="408" y="1"/>
                  </a:moveTo>
                  <a:cubicBezTo>
                    <a:pt x="183" y="1"/>
                    <a:pt x="1" y="181"/>
                    <a:pt x="1" y="406"/>
                  </a:cubicBezTo>
                  <a:cubicBezTo>
                    <a:pt x="1" y="631"/>
                    <a:pt x="183" y="813"/>
                    <a:pt x="408" y="813"/>
                  </a:cubicBezTo>
                  <a:cubicBezTo>
                    <a:pt x="631" y="813"/>
                    <a:pt x="813" y="631"/>
                    <a:pt x="813" y="406"/>
                  </a:cubicBezTo>
                  <a:cubicBezTo>
                    <a:pt x="813" y="181"/>
                    <a:pt x="631" y="1"/>
                    <a:pt x="40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1124;p28"/>
            <p:cNvSpPr/>
            <p:nvPr/>
          </p:nvSpPr>
          <p:spPr>
            <a:xfrm>
              <a:off x="2704450" y="2501175"/>
              <a:ext cx="20325" cy="20275"/>
            </a:xfrm>
            <a:custGeom>
              <a:avLst/>
              <a:gdLst/>
              <a:ahLst/>
              <a:cxnLst/>
              <a:rect l="l" t="t" r="r" b="b"/>
              <a:pathLst>
                <a:path w="813" h="811" extrusionOk="0">
                  <a:moveTo>
                    <a:pt x="406" y="0"/>
                  </a:moveTo>
                  <a:cubicBezTo>
                    <a:pt x="183" y="0"/>
                    <a:pt x="1" y="182"/>
                    <a:pt x="1" y="405"/>
                  </a:cubicBezTo>
                  <a:cubicBezTo>
                    <a:pt x="1" y="628"/>
                    <a:pt x="183" y="811"/>
                    <a:pt x="406" y="811"/>
                  </a:cubicBezTo>
                  <a:cubicBezTo>
                    <a:pt x="631" y="811"/>
                    <a:pt x="813" y="630"/>
                    <a:pt x="813" y="405"/>
                  </a:cubicBezTo>
                  <a:cubicBezTo>
                    <a:pt x="813" y="182"/>
                    <a:pt x="631" y="0"/>
                    <a:pt x="406"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5" name="Google Shape;1125;p28"/>
            <p:cNvSpPr/>
            <p:nvPr/>
          </p:nvSpPr>
          <p:spPr>
            <a:xfrm>
              <a:off x="2704450" y="2633775"/>
              <a:ext cx="20325" cy="20325"/>
            </a:xfrm>
            <a:custGeom>
              <a:avLst/>
              <a:gdLst/>
              <a:ahLst/>
              <a:cxnLst/>
              <a:rect l="l" t="t" r="r" b="b"/>
              <a:pathLst>
                <a:path w="813" h="813" extrusionOk="0">
                  <a:moveTo>
                    <a:pt x="406" y="1"/>
                  </a:moveTo>
                  <a:cubicBezTo>
                    <a:pt x="183" y="1"/>
                    <a:pt x="1" y="183"/>
                    <a:pt x="1" y="406"/>
                  </a:cubicBezTo>
                  <a:cubicBezTo>
                    <a:pt x="1" y="629"/>
                    <a:pt x="183" y="813"/>
                    <a:pt x="406" y="813"/>
                  </a:cubicBezTo>
                  <a:cubicBezTo>
                    <a:pt x="631" y="813"/>
                    <a:pt x="813" y="629"/>
                    <a:pt x="813" y="406"/>
                  </a:cubicBezTo>
                  <a:cubicBezTo>
                    <a:pt x="813" y="183"/>
                    <a:pt x="631" y="1"/>
                    <a:pt x="406"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6" name="Google Shape;1126;p28"/>
          <p:cNvGrpSpPr/>
          <p:nvPr/>
        </p:nvGrpSpPr>
        <p:grpSpPr>
          <a:xfrm>
            <a:off x="1395509" y="4238176"/>
            <a:ext cx="705454" cy="198428"/>
            <a:chOff x="3505675" y="3415300"/>
            <a:chExt cx="543075" cy="148825"/>
          </a:xfrm>
        </p:grpSpPr>
        <p:sp>
          <p:nvSpPr>
            <p:cNvPr id="1127" name="Google Shape;1127;p28"/>
            <p:cNvSpPr/>
            <p:nvPr/>
          </p:nvSpPr>
          <p:spPr>
            <a:xfrm>
              <a:off x="3505675" y="3415300"/>
              <a:ext cx="543075" cy="46575"/>
            </a:xfrm>
            <a:custGeom>
              <a:avLst/>
              <a:gdLst/>
              <a:ahLst/>
              <a:cxnLst/>
              <a:rect l="l" t="t" r="r" b="b"/>
              <a:pathLst>
                <a:path w="21723" h="1863" extrusionOk="0">
                  <a:moveTo>
                    <a:pt x="6638" y="1"/>
                  </a:moveTo>
                  <a:cubicBezTo>
                    <a:pt x="5867" y="1"/>
                    <a:pt x="5097" y="240"/>
                    <a:pt x="4378" y="715"/>
                  </a:cubicBezTo>
                  <a:cubicBezTo>
                    <a:pt x="3752" y="1132"/>
                    <a:pt x="3080" y="1340"/>
                    <a:pt x="2409" y="1340"/>
                  </a:cubicBezTo>
                  <a:cubicBezTo>
                    <a:pt x="1737" y="1340"/>
                    <a:pt x="1065" y="1132"/>
                    <a:pt x="439" y="715"/>
                  </a:cubicBezTo>
                  <a:cubicBezTo>
                    <a:pt x="396" y="686"/>
                    <a:pt x="346" y="672"/>
                    <a:pt x="297" y="672"/>
                  </a:cubicBezTo>
                  <a:cubicBezTo>
                    <a:pt x="214" y="672"/>
                    <a:pt x="131" y="713"/>
                    <a:pt x="81" y="788"/>
                  </a:cubicBezTo>
                  <a:cubicBezTo>
                    <a:pt x="1" y="905"/>
                    <a:pt x="34" y="1068"/>
                    <a:pt x="152" y="1147"/>
                  </a:cubicBezTo>
                  <a:cubicBezTo>
                    <a:pt x="870" y="1624"/>
                    <a:pt x="1639" y="1863"/>
                    <a:pt x="2409" y="1863"/>
                  </a:cubicBezTo>
                  <a:cubicBezTo>
                    <a:pt x="3179" y="1863"/>
                    <a:pt x="3949" y="1624"/>
                    <a:pt x="4666" y="1147"/>
                  </a:cubicBezTo>
                  <a:cubicBezTo>
                    <a:pt x="5292" y="730"/>
                    <a:pt x="5964" y="522"/>
                    <a:pt x="6635" y="522"/>
                  </a:cubicBezTo>
                  <a:cubicBezTo>
                    <a:pt x="7307" y="522"/>
                    <a:pt x="7979" y="730"/>
                    <a:pt x="8605" y="1147"/>
                  </a:cubicBezTo>
                  <a:cubicBezTo>
                    <a:pt x="9322" y="1624"/>
                    <a:pt x="10092" y="1863"/>
                    <a:pt x="10862" y="1863"/>
                  </a:cubicBezTo>
                  <a:cubicBezTo>
                    <a:pt x="11632" y="1863"/>
                    <a:pt x="12401" y="1624"/>
                    <a:pt x="13119" y="1147"/>
                  </a:cubicBezTo>
                  <a:cubicBezTo>
                    <a:pt x="13745" y="730"/>
                    <a:pt x="14416" y="522"/>
                    <a:pt x="15088" y="522"/>
                  </a:cubicBezTo>
                  <a:cubicBezTo>
                    <a:pt x="15759" y="522"/>
                    <a:pt x="16431" y="730"/>
                    <a:pt x="17057" y="1147"/>
                  </a:cubicBezTo>
                  <a:cubicBezTo>
                    <a:pt x="17774" y="1624"/>
                    <a:pt x="18544" y="1863"/>
                    <a:pt x="19314" y="1863"/>
                  </a:cubicBezTo>
                  <a:cubicBezTo>
                    <a:pt x="20084" y="1863"/>
                    <a:pt x="20854" y="1624"/>
                    <a:pt x="21571" y="1147"/>
                  </a:cubicBezTo>
                  <a:cubicBezTo>
                    <a:pt x="21689" y="1068"/>
                    <a:pt x="21723" y="908"/>
                    <a:pt x="21642" y="788"/>
                  </a:cubicBezTo>
                  <a:cubicBezTo>
                    <a:pt x="21593" y="713"/>
                    <a:pt x="21511" y="672"/>
                    <a:pt x="21427" y="672"/>
                  </a:cubicBezTo>
                  <a:cubicBezTo>
                    <a:pt x="21378" y="672"/>
                    <a:pt x="21328" y="686"/>
                    <a:pt x="21284" y="715"/>
                  </a:cubicBezTo>
                  <a:cubicBezTo>
                    <a:pt x="20658" y="1132"/>
                    <a:pt x="19986" y="1340"/>
                    <a:pt x="19315" y="1340"/>
                  </a:cubicBezTo>
                  <a:cubicBezTo>
                    <a:pt x="18643" y="1340"/>
                    <a:pt x="17972" y="1132"/>
                    <a:pt x="17346" y="715"/>
                  </a:cubicBezTo>
                  <a:cubicBezTo>
                    <a:pt x="16628" y="239"/>
                    <a:pt x="15858" y="1"/>
                    <a:pt x="15089" y="1"/>
                  </a:cubicBezTo>
                  <a:cubicBezTo>
                    <a:pt x="14319" y="1"/>
                    <a:pt x="13549" y="239"/>
                    <a:pt x="12832" y="715"/>
                  </a:cubicBezTo>
                  <a:cubicBezTo>
                    <a:pt x="12206" y="1132"/>
                    <a:pt x="11534" y="1340"/>
                    <a:pt x="10862" y="1340"/>
                  </a:cubicBezTo>
                  <a:cubicBezTo>
                    <a:pt x="10191" y="1340"/>
                    <a:pt x="9519" y="1132"/>
                    <a:pt x="8893" y="715"/>
                  </a:cubicBezTo>
                  <a:cubicBezTo>
                    <a:pt x="8177" y="240"/>
                    <a:pt x="7407" y="1"/>
                    <a:pt x="663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28"/>
            <p:cNvSpPr/>
            <p:nvPr/>
          </p:nvSpPr>
          <p:spPr>
            <a:xfrm>
              <a:off x="3505675" y="3517550"/>
              <a:ext cx="543075" cy="46575"/>
            </a:xfrm>
            <a:custGeom>
              <a:avLst/>
              <a:gdLst/>
              <a:ahLst/>
              <a:cxnLst/>
              <a:rect l="l" t="t" r="r" b="b"/>
              <a:pathLst>
                <a:path w="21723" h="1863" extrusionOk="0">
                  <a:moveTo>
                    <a:pt x="6638" y="1"/>
                  </a:moveTo>
                  <a:cubicBezTo>
                    <a:pt x="5867" y="1"/>
                    <a:pt x="5097" y="241"/>
                    <a:pt x="4378" y="716"/>
                  </a:cubicBezTo>
                  <a:cubicBezTo>
                    <a:pt x="3752" y="1132"/>
                    <a:pt x="3080" y="1341"/>
                    <a:pt x="2409" y="1341"/>
                  </a:cubicBezTo>
                  <a:cubicBezTo>
                    <a:pt x="1737" y="1341"/>
                    <a:pt x="1065" y="1132"/>
                    <a:pt x="439" y="716"/>
                  </a:cubicBezTo>
                  <a:cubicBezTo>
                    <a:pt x="396" y="687"/>
                    <a:pt x="346" y="673"/>
                    <a:pt x="297" y="673"/>
                  </a:cubicBezTo>
                  <a:cubicBezTo>
                    <a:pt x="214" y="673"/>
                    <a:pt x="131" y="713"/>
                    <a:pt x="81" y="789"/>
                  </a:cubicBezTo>
                  <a:cubicBezTo>
                    <a:pt x="1" y="906"/>
                    <a:pt x="34" y="1068"/>
                    <a:pt x="152" y="1147"/>
                  </a:cubicBezTo>
                  <a:cubicBezTo>
                    <a:pt x="870" y="1624"/>
                    <a:pt x="1639" y="1863"/>
                    <a:pt x="2409" y="1863"/>
                  </a:cubicBezTo>
                  <a:cubicBezTo>
                    <a:pt x="3179" y="1863"/>
                    <a:pt x="3949" y="1624"/>
                    <a:pt x="4666" y="1147"/>
                  </a:cubicBezTo>
                  <a:cubicBezTo>
                    <a:pt x="5292" y="730"/>
                    <a:pt x="5964" y="522"/>
                    <a:pt x="6635" y="522"/>
                  </a:cubicBezTo>
                  <a:cubicBezTo>
                    <a:pt x="7307" y="522"/>
                    <a:pt x="7979" y="730"/>
                    <a:pt x="8605" y="1147"/>
                  </a:cubicBezTo>
                  <a:cubicBezTo>
                    <a:pt x="9322" y="1624"/>
                    <a:pt x="10092" y="1863"/>
                    <a:pt x="10862" y="1863"/>
                  </a:cubicBezTo>
                  <a:cubicBezTo>
                    <a:pt x="11632" y="1863"/>
                    <a:pt x="12401" y="1624"/>
                    <a:pt x="13119" y="1147"/>
                  </a:cubicBezTo>
                  <a:cubicBezTo>
                    <a:pt x="13745" y="730"/>
                    <a:pt x="14416" y="522"/>
                    <a:pt x="15088" y="522"/>
                  </a:cubicBezTo>
                  <a:cubicBezTo>
                    <a:pt x="15759" y="522"/>
                    <a:pt x="16431" y="730"/>
                    <a:pt x="17057" y="1147"/>
                  </a:cubicBezTo>
                  <a:cubicBezTo>
                    <a:pt x="17774" y="1624"/>
                    <a:pt x="18544" y="1863"/>
                    <a:pt x="19314" y="1863"/>
                  </a:cubicBezTo>
                  <a:cubicBezTo>
                    <a:pt x="20084" y="1863"/>
                    <a:pt x="20854" y="1624"/>
                    <a:pt x="21571" y="1147"/>
                  </a:cubicBezTo>
                  <a:cubicBezTo>
                    <a:pt x="21689" y="1069"/>
                    <a:pt x="21723" y="909"/>
                    <a:pt x="21642" y="789"/>
                  </a:cubicBezTo>
                  <a:cubicBezTo>
                    <a:pt x="21593" y="713"/>
                    <a:pt x="21511" y="673"/>
                    <a:pt x="21427" y="673"/>
                  </a:cubicBezTo>
                  <a:cubicBezTo>
                    <a:pt x="21378" y="673"/>
                    <a:pt x="21328" y="687"/>
                    <a:pt x="21284" y="716"/>
                  </a:cubicBezTo>
                  <a:cubicBezTo>
                    <a:pt x="20658" y="1132"/>
                    <a:pt x="19986" y="1341"/>
                    <a:pt x="19315" y="1341"/>
                  </a:cubicBezTo>
                  <a:cubicBezTo>
                    <a:pt x="18643" y="1341"/>
                    <a:pt x="17972" y="1132"/>
                    <a:pt x="17346" y="716"/>
                  </a:cubicBezTo>
                  <a:cubicBezTo>
                    <a:pt x="16628" y="239"/>
                    <a:pt x="15858" y="1"/>
                    <a:pt x="15089" y="1"/>
                  </a:cubicBezTo>
                  <a:cubicBezTo>
                    <a:pt x="14319" y="1"/>
                    <a:pt x="13549" y="239"/>
                    <a:pt x="12832" y="716"/>
                  </a:cubicBezTo>
                  <a:cubicBezTo>
                    <a:pt x="12206" y="1132"/>
                    <a:pt x="11534" y="1341"/>
                    <a:pt x="10862" y="1341"/>
                  </a:cubicBezTo>
                  <a:cubicBezTo>
                    <a:pt x="10191" y="1341"/>
                    <a:pt x="9519" y="1132"/>
                    <a:pt x="8893" y="716"/>
                  </a:cubicBezTo>
                  <a:cubicBezTo>
                    <a:pt x="8177" y="241"/>
                    <a:pt x="7407" y="1"/>
                    <a:pt x="663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29" name="Google Shape;1129;p28"/>
          <p:cNvSpPr/>
          <p:nvPr/>
        </p:nvSpPr>
        <p:spPr>
          <a:xfrm>
            <a:off x="8029807" y="3428990"/>
            <a:ext cx="788396" cy="809180"/>
          </a:xfrm>
          <a:custGeom>
            <a:avLst/>
            <a:gdLst/>
            <a:ahLst/>
            <a:cxnLst/>
            <a:rect l="l" t="t" r="r" b="b"/>
            <a:pathLst>
              <a:path w="24277" h="24276" extrusionOk="0">
                <a:moveTo>
                  <a:pt x="17388" y="432"/>
                </a:moveTo>
                <a:lnTo>
                  <a:pt x="17388" y="17388"/>
                </a:lnTo>
                <a:lnTo>
                  <a:pt x="430" y="17388"/>
                </a:lnTo>
                <a:lnTo>
                  <a:pt x="430" y="432"/>
                </a:lnTo>
                <a:close/>
                <a:moveTo>
                  <a:pt x="17819" y="615"/>
                </a:moveTo>
                <a:lnTo>
                  <a:pt x="23844" y="6761"/>
                </a:lnTo>
                <a:lnTo>
                  <a:pt x="23844" y="23541"/>
                </a:lnTo>
                <a:lnTo>
                  <a:pt x="17819" y="17515"/>
                </a:lnTo>
                <a:lnTo>
                  <a:pt x="17819" y="615"/>
                </a:lnTo>
                <a:close/>
                <a:moveTo>
                  <a:pt x="17514" y="17819"/>
                </a:moveTo>
                <a:lnTo>
                  <a:pt x="23539" y="23844"/>
                </a:lnTo>
                <a:lnTo>
                  <a:pt x="6759" y="23844"/>
                </a:lnTo>
                <a:lnTo>
                  <a:pt x="613" y="17819"/>
                </a:lnTo>
                <a:close/>
                <a:moveTo>
                  <a:pt x="0" y="1"/>
                </a:moveTo>
                <a:lnTo>
                  <a:pt x="0" y="17819"/>
                </a:lnTo>
                <a:lnTo>
                  <a:pt x="6584" y="24275"/>
                </a:lnTo>
                <a:lnTo>
                  <a:pt x="24277" y="24275"/>
                </a:lnTo>
                <a:lnTo>
                  <a:pt x="24277" y="6581"/>
                </a:lnTo>
                <a:lnTo>
                  <a:pt x="1781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30" name="Google Shape;1130;p28"/>
          <p:cNvGrpSpPr/>
          <p:nvPr/>
        </p:nvGrpSpPr>
        <p:grpSpPr>
          <a:xfrm>
            <a:off x="8225826" y="-104626"/>
            <a:ext cx="1112204" cy="1141705"/>
            <a:chOff x="2974150" y="1190900"/>
            <a:chExt cx="856200" cy="856300"/>
          </a:xfrm>
        </p:grpSpPr>
        <p:sp>
          <p:nvSpPr>
            <p:cNvPr id="1131" name="Google Shape;1131;p28"/>
            <p:cNvSpPr/>
            <p:nvPr/>
          </p:nvSpPr>
          <p:spPr>
            <a:xfrm>
              <a:off x="3060325" y="1277100"/>
              <a:ext cx="610550" cy="610550"/>
            </a:xfrm>
            <a:custGeom>
              <a:avLst/>
              <a:gdLst/>
              <a:ahLst/>
              <a:cxnLst/>
              <a:rect l="l" t="t" r="r" b="b"/>
              <a:pathLst>
                <a:path w="24422" h="24422" extrusionOk="0">
                  <a:moveTo>
                    <a:pt x="23992" y="1"/>
                  </a:moveTo>
                  <a:lnTo>
                    <a:pt x="1" y="23992"/>
                  </a:lnTo>
                  <a:cubicBezTo>
                    <a:pt x="110" y="24136"/>
                    <a:pt x="221" y="24280"/>
                    <a:pt x="336" y="24421"/>
                  </a:cubicBezTo>
                  <a:lnTo>
                    <a:pt x="24421" y="336"/>
                  </a:lnTo>
                  <a:cubicBezTo>
                    <a:pt x="24279" y="222"/>
                    <a:pt x="24136" y="110"/>
                    <a:pt x="2399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1132;p28"/>
            <p:cNvSpPr/>
            <p:nvPr/>
          </p:nvSpPr>
          <p:spPr>
            <a:xfrm>
              <a:off x="2987625" y="1204375"/>
              <a:ext cx="536750" cy="536725"/>
            </a:xfrm>
            <a:custGeom>
              <a:avLst/>
              <a:gdLst/>
              <a:ahLst/>
              <a:cxnLst/>
              <a:rect l="l" t="t" r="r" b="b"/>
              <a:pathLst>
                <a:path w="21470" h="21469" extrusionOk="0">
                  <a:moveTo>
                    <a:pt x="20870" y="0"/>
                  </a:moveTo>
                  <a:lnTo>
                    <a:pt x="1" y="20869"/>
                  </a:lnTo>
                  <a:cubicBezTo>
                    <a:pt x="51" y="21071"/>
                    <a:pt x="107" y="21270"/>
                    <a:pt x="165" y="21469"/>
                  </a:cubicBezTo>
                  <a:lnTo>
                    <a:pt x="21469" y="166"/>
                  </a:lnTo>
                  <a:cubicBezTo>
                    <a:pt x="21269" y="106"/>
                    <a:pt x="21070" y="52"/>
                    <a:pt x="2087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1133;p28"/>
            <p:cNvSpPr/>
            <p:nvPr/>
          </p:nvSpPr>
          <p:spPr>
            <a:xfrm>
              <a:off x="3030700" y="1247500"/>
              <a:ext cx="596575" cy="596575"/>
            </a:xfrm>
            <a:custGeom>
              <a:avLst/>
              <a:gdLst/>
              <a:ahLst/>
              <a:cxnLst/>
              <a:rect l="l" t="t" r="r" b="b"/>
              <a:pathLst>
                <a:path w="23863" h="23863" extrusionOk="0">
                  <a:moveTo>
                    <a:pt x="23383" y="1"/>
                  </a:moveTo>
                  <a:lnTo>
                    <a:pt x="0" y="23383"/>
                  </a:lnTo>
                  <a:cubicBezTo>
                    <a:pt x="93" y="23544"/>
                    <a:pt x="187" y="23703"/>
                    <a:pt x="284" y="23863"/>
                  </a:cubicBezTo>
                  <a:lnTo>
                    <a:pt x="23863" y="285"/>
                  </a:lnTo>
                  <a:cubicBezTo>
                    <a:pt x="23703" y="186"/>
                    <a:pt x="23544" y="92"/>
                    <a:pt x="2338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4" name="Google Shape;1134;p28"/>
            <p:cNvSpPr/>
            <p:nvPr/>
          </p:nvSpPr>
          <p:spPr>
            <a:xfrm>
              <a:off x="3006150" y="1222925"/>
              <a:ext cx="572475" cy="572525"/>
            </a:xfrm>
            <a:custGeom>
              <a:avLst/>
              <a:gdLst/>
              <a:ahLst/>
              <a:cxnLst/>
              <a:rect l="l" t="t" r="r" b="b"/>
              <a:pathLst>
                <a:path w="22899" h="22901" extrusionOk="0">
                  <a:moveTo>
                    <a:pt x="22365" y="0"/>
                  </a:moveTo>
                  <a:lnTo>
                    <a:pt x="0" y="22366"/>
                  </a:lnTo>
                  <a:cubicBezTo>
                    <a:pt x="75" y="22545"/>
                    <a:pt x="151" y="22723"/>
                    <a:pt x="233" y="22900"/>
                  </a:cubicBezTo>
                  <a:lnTo>
                    <a:pt x="22899" y="233"/>
                  </a:lnTo>
                  <a:cubicBezTo>
                    <a:pt x="22721" y="152"/>
                    <a:pt x="22544" y="75"/>
                    <a:pt x="2236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 name="Google Shape;1135;p28"/>
            <p:cNvSpPr/>
            <p:nvPr/>
          </p:nvSpPr>
          <p:spPr>
            <a:xfrm>
              <a:off x="2976275" y="1193050"/>
              <a:ext cx="486900" cy="486900"/>
            </a:xfrm>
            <a:custGeom>
              <a:avLst/>
              <a:gdLst/>
              <a:ahLst/>
              <a:cxnLst/>
              <a:rect l="l" t="t" r="r" b="b"/>
              <a:pathLst>
                <a:path w="19476" h="19476" extrusionOk="0">
                  <a:moveTo>
                    <a:pt x="18794" y="1"/>
                  </a:moveTo>
                  <a:lnTo>
                    <a:pt x="1" y="18794"/>
                  </a:lnTo>
                  <a:cubicBezTo>
                    <a:pt x="24" y="19021"/>
                    <a:pt x="53" y="19249"/>
                    <a:pt x="84" y="19475"/>
                  </a:cubicBezTo>
                  <a:lnTo>
                    <a:pt x="19475" y="84"/>
                  </a:lnTo>
                  <a:cubicBezTo>
                    <a:pt x="19249" y="51"/>
                    <a:pt x="19021" y="25"/>
                    <a:pt x="1879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1136;p28"/>
            <p:cNvSpPr/>
            <p:nvPr/>
          </p:nvSpPr>
          <p:spPr>
            <a:xfrm>
              <a:off x="3094700" y="1311525"/>
              <a:ext cx="615075" cy="615050"/>
            </a:xfrm>
            <a:custGeom>
              <a:avLst/>
              <a:gdLst/>
              <a:ahLst/>
              <a:cxnLst/>
              <a:rect l="l" t="t" r="r" b="b"/>
              <a:pathLst>
                <a:path w="24603" h="24602" extrusionOk="0">
                  <a:moveTo>
                    <a:pt x="24221" y="0"/>
                  </a:moveTo>
                  <a:lnTo>
                    <a:pt x="1" y="24220"/>
                  </a:lnTo>
                  <a:lnTo>
                    <a:pt x="189" y="24413"/>
                  </a:lnTo>
                  <a:cubicBezTo>
                    <a:pt x="253" y="24478"/>
                    <a:pt x="318" y="24539"/>
                    <a:pt x="382" y="24601"/>
                  </a:cubicBezTo>
                  <a:lnTo>
                    <a:pt x="24602" y="381"/>
                  </a:lnTo>
                  <a:cubicBezTo>
                    <a:pt x="24541" y="318"/>
                    <a:pt x="24479" y="252"/>
                    <a:pt x="24414" y="189"/>
                  </a:cubicBezTo>
                  <a:cubicBezTo>
                    <a:pt x="24350" y="123"/>
                    <a:pt x="24285" y="63"/>
                    <a:pt x="2422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7" name="Google Shape;1137;p28"/>
            <p:cNvSpPr/>
            <p:nvPr/>
          </p:nvSpPr>
          <p:spPr>
            <a:xfrm>
              <a:off x="2974150" y="1190900"/>
              <a:ext cx="418775" cy="418800"/>
            </a:xfrm>
            <a:custGeom>
              <a:avLst/>
              <a:gdLst/>
              <a:ahLst/>
              <a:cxnLst/>
              <a:rect l="l" t="t" r="r" b="b"/>
              <a:pathLst>
                <a:path w="16751" h="16752" extrusionOk="0">
                  <a:moveTo>
                    <a:pt x="16751" y="0"/>
                  </a:moveTo>
                  <a:lnTo>
                    <a:pt x="16751" y="0"/>
                  </a:lnTo>
                  <a:cubicBezTo>
                    <a:pt x="16484" y="6"/>
                    <a:pt x="16218" y="19"/>
                    <a:pt x="15950" y="37"/>
                  </a:cubicBezTo>
                  <a:lnTo>
                    <a:pt x="36" y="15950"/>
                  </a:lnTo>
                  <a:cubicBezTo>
                    <a:pt x="18" y="16217"/>
                    <a:pt x="6" y="16483"/>
                    <a:pt x="1" y="16752"/>
                  </a:cubicBezTo>
                  <a:lnTo>
                    <a:pt x="1675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8" name="Google Shape;1138;p28"/>
            <p:cNvSpPr/>
            <p:nvPr/>
          </p:nvSpPr>
          <p:spPr>
            <a:xfrm>
              <a:off x="2984475" y="1201300"/>
              <a:ext cx="323550" cy="323525"/>
            </a:xfrm>
            <a:custGeom>
              <a:avLst/>
              <a:gdLst/>
              <a:ahLst/>
              <a:cxnLst/>
              <a:rect l="l" t="t" r="r" b="b"/>
              <a:pathLst>
                <a:path w="12942" h="12941" extrusionOk="0">
                  <a:moveTo>
                    <a:pt x="12941" y="0"/>
                  </a:moveTo>
                  <a:lnTo>
                    <a:pt x="12941" y="0"/>
                  </a:lnTo>
                  <a:cubicBezTo>
                    <a:pt x="12597" y="78"/>
                    <a:pt x="12254" y="166"/>
                    <a:pt x="11914" y="266"/>
                  </a:cubicBezTo>
                  <a:lnTo>
                    <a:pt x="265" y="11915"/>
                  </a:lnTo>
                  <a:cubicBezTo>
                    <a:pt x="166" y="12253"/>
                    <a:pt x="78" y="12596"/>
                    <a:pt x="1" y="12941"/>
                  </a:cubicBezTo>
                  <a:lnTo>
                    <a:pt x="1294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9" name="Google Shape;1139;p28"/>
            <p:cNvSpPr/>
            <p:nvPr/>
          </p:nvSpPr>
          <p:spPr>
            <a:xfrm>
              <a:off x="3411650" y="1628375"/>
              <a:ext cx="418700" cy="418825"/>
            </a:xfrm>
            <a:custGeom>
              <a:avLst/>
              <a:gdLst/>
              <a:ahLst/>
              <a:cxnLst/>
              <a:rect l="l" t="t" r="r" b="b"/>
              <a:pathLst>
                <a:path w="16748" h="16753" extrusionOk="0">
                  <a:moveTo>
                    <a:pt x="16748" y="1"/>
                  </a:moveTo>
                  <a:lnTo>
                    <a:pt x="1" y="16752"/>
                  </a:lnTo>
                  <a:cubicBezTo>
                    <a:pt x="268" y="16746"/>
                    <a:pt x="533" y="16734"/>
                    <a:pt x="801" y="16716"/>
                  </a:cubicBezTo>
                  <a:lnTo>
                    <a:pt x="16713" y="802"/>
                  </a:lnTo>
                  <a:cubicBezTo>
                    <a:pt x="16731" y="535"/>
                    <a:pt x="16743" y="270"/>
                    <a:pt x="1674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0" name="Google Shape;1140;p28"/>
            <p:cNvSpPr/>
            <p:nvPr/>
          </p:nvSpPr>
          <p:spPr>
            <a:xfrm>
              <a:off x="3341350" y="1558150"/>
              <a:ext cx="486875" cy="486875"/>
            </a:xfrm>
            <a:custGeom>
              <a:avLst/>
              <a:gdLst/>
              <a:ahLst/>
              <a:cxnLst/>
              <a:rect l="l" t="t" r="r" b="b"/>
              <a:pathLst>
                <a:path w="19475" h="19475" extrusionOk="0">
                  <a:moveTo>
                    <a:pt x="19391" y="1"/>
                  </a:moveTo>
                  <a:lnTo>
                    <a:pt x="0" y="19391"/>
                  </a:lnTo>
                  <a:cubicBezTo>
                    <a:pt x="226" y="19425"/>
                    <a:pt x="454" y="19451"/>
                    <a:pt x="682" y="19475"/>
                  </a:cubicBezTo>
                  <a:lnTo>
                    <a:pt x="19475" y="682"/>
                  </a:lnTo>
                  <a:cubicBezTo>
                    <a:pt x="19452" y="454"/>
                    <a:pt x="19424" y="227"/>
                    <a:pt x="1939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1" name="Google Shape;1141;p28"/>
            <p:cNvSpPr/>
            <p:nvPr/>
          </p:nvSpPr>
          <p:spPr>
            <a:xfrm>
              <a:off x="3033250" y="1250050"/>
              <a:ext cx="151525" cy="151500"/>
            </a:xfrm>
            <a:custGeom>
              <a:avLst/>
              <a:gdLst/>
              <a:ahLst/>
              <a:cxnLst/>
              <a:rect l="l" t="t" r="r" b="b"/>
              <a:pathLst>
                <a:path w="6061" h="6060" extrusionOk="0">
                  <a:moveTo>
                    <a:pt x="6061" y="1"/>
                  </a:moveTo>
                  <a:lnTo>
                    <a:pt x="6061" y="1"/>
                  </a:lnTo>
                  <a:cubicBezTo>
                    <a:pt x="4842" y="720"/>
                    <a:pt x="3694" y="1602"/>
                    <a:pt x="2649" y="2649"/>
                  </a:cubicBezTo>
                  <a:cubicBezTo>
                    <a:pt x="1603" y="3695"/>
                    <a:pt x="720" y="4844"/>
                    <a:pt x="0" y="6059"/>
                  </a:cubicBezTo>
                  <a:lnTo>
                    <a:pt x="6061"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 name="Google Shape;1142;p28"/>
            <p:cNvSpPr/>
            <p:nvPr/>
          </p:nvSpPr>
          <p:spPr>
            <a:xfrm>
              <a:off x="3496525" y="1713300"/>
              <a:ext cx="323550" cy="323525"/>
            </a:xfrm>
            <a:custGeom>
              <a:avLst/>
              <a:gdLst/>
              <a:ahLst/>
              <a:cxnLst/>
              <a:rect l="l" t="t" r="r" b="b"/>
              <a:pathLst>
                <a:path w="12942" h="12941" extrusionOk="0">
                  <a:moveTo>
                    <a:pt x="12941" y="1"/>
                  </a:moveTo>
                  <a:lnTo>
                    <a:pt x="1" y="12941"/>
                  </a:lnTo>
                  <a:cubicBezTo>
                    <a:pt x="347" y="12864"/>
                    <a:pt x="690" y="12776"/>
                    <a:pt x="1030" y="12675"/>
                  </a:cubicBezTo>
                  <a:lnTo>
                    <a:pt x="12676" y="1028"/>
                  </a:lnTo>
                  <a:cubicBezTo>
                    <a:pt x="12774" y="687"/>
                    <a:pt x="12864" y="345"/>
                    <a:pt x="1294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 name="Google Shape;1143;p28"/>
            <p:cNvSpPr/>
            <p:nvPr/>
          </p:nvSpPr>
          <p:spPr>
            <a:xfrm>
              <a:off x="3619775" y="1836575"/>
              <a:ext cx="151500" cy="151500"/>
            </a:xfrm>
            <a:custGeom>
              <a:avLst/>
              <a:gdLst/>
              <a:ahLst/>
              <a:cxnLst/>
              <a:rect l="l" t="t" r="r" b="b"/>
              <a:pathLst>
                <a:path w="6060" h="6060" extrusionOk="0">
                  <a:moveTo>
                    <a:pt x="6059" y="1"/>
                  </a:moveTo>
                  <a:lnTo>
                    <a:pt x="1" y="6060"/>
                  </a:lnTo>
                  <a:cubicBezTo>
                    <a:pt x="1218" y="5340"/>
                    <a:pt x="2365" y="4458"/>
                    <a:pt x="3411" y="3411"/>
                  </a:cubicBezTo>
                  <a:cubicBezTo>
                    <a:pt x="4457" y="2365"/>
                    <a:pt x="5340" y="1217"/>
                    <a:pt x="605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 name="Google Shape;1144;p28"/>
            <p:cNvSpPr/>
            <p:nvPr/>
          </p:nvSpPr>
          <p:spPr>
            <a:xfrm>
              <a:off x="3177225" y="1394050"/>
              <a:ext cx="596625" cy="596600"/>
            </a:xfrm>
            <a:custGeom>
              <a:avLst/>
              <a:gdLst/>
              <a:ahLst/>
              <a:cxnLst/>
              <a:rect l="l" t="t" r="r" b="b"/>
              <a:pathLst>
                <a:path w="23865" h="23864" extrusionOk="0">
                  <a:moveTo>
                    <a:pt x="23579" y="0"/>
                  </a:moveTo>
                  <a:lnTo>
                    <a:pt x="1" y="23579"/>
                  </a:lnTo>
                  <a:cubicBezTo>
                    <a:pt x="160" y="23677"/>
                    <a:pt x="320" y="23771"/>
                    <a:pt x="481" y="23864"/>
                  </a:cubicBezTo>
                  <a:lnTo>
                    <a:pt x="23865" y="480"/>
                  </a:lnTo>
                  <a:cubicBezTo>
                    <a:pt x="23770" y="319"/>
                    <a:pt x="23676" y="160"/>
                    <a:pt x="2357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 name="Google Shape;1145;p28"/>
            <p:cNvSpPr/>
            <p:nvPr/>
          </p:nvSpPr>
          <p:spPr>
            <a:xfrm>
              <a:off x="3133650" y="1350450"/>
              <a:ext cx="610525" cy="610500"/>
            </a:xfrm>
            <a:custGeom>
              <a:avLst/>
              <a:gdLst/>
              <a:ahLst/>
              <a:cxnLst/>
              <a:rect l="l" t="t" r="r" b="b"/>
              <a:pathLst>
                <a:path w="24421" h="24420" extrusionOk="0">
                  <a:moveTo>
                    <a:pt x="24087" y="1"/>
                  </a:moveTo>
                  <a:lnTo>
                    <a:pt x="0" y="24086"/>
                  </a:lnTo>
                  <a:cubicBezTo>
                    <a:pt x="143" y="24199"/>
                    <a:pt x="285" y="24312"/>
                    <a:pt x="430" y="24419"/>
                  </a:cubicBezTo>
                  <a:lnTo>
                    <a:pt x="24421" y="430"/>
                  </a:lnTo>
                  <a:cubicBezTo>
                    <a:pt x="24311" y="286"/>
                    <a:pt x="24201" y="142"/>
                    <a:pt x="2408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 name="Google Shape;1146;p28"/>
            <p:cNvSpPr/>
            <p:nvPr/>
          </p:nvSpPr>
          <p:spPr>
            <a:xfrm>
              <a:off x="3280175" y="1497000"/>
              <a:ext cx="536775" cy="536775"/>
            </a:xfrm>
            <a:custGeom>
              <a:avLst/>
              <a:gdLst/>
              <a:ahLst/>
              <a:cxnLst/>
              <a:rect l="l" t="t" r="r" b="b"/>
              <a:pathLst>
                <a:path w="21471" h="21471" extrusionOk="0">
                  <a:moveTo>
                    <a:pt x="21305" y="0"/>
                  </a:moveTo>
                  <a:lnTo>
                    <a:pt x="1" y="21305"/>
                  </a:lnTo>
                  <a:cubicBezTo>
                    <a:pt x="199" y="21364"/>
                    <a:pt x="398" y="21418"/>
                    <a:pt x="600" y="21470"/>
                  </a:cubicBezTo>
                  <a:lnTo>
                    <a:pt x="21471" y="600"/>
                  </a:lnTo>
                  <a:cubicBezTo>
                    <a:pt x="21419" y="398"/>
                    <a:pt x="21365" y="199"/>
                    <a:pt x="2130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1147;p28"/>
            <p:cNvSpPr/>
            <p:nvPr/>
          </p:nvSpPr>
          <p:spPr>
            <a:xfrm>
              <a:off x="3225925" y="1442725"/>
              <a:ext cx="572450" cy="572450"/>
            </a:xfrm>
            <a:custGeom>
              <a:avLst/>
              <a:gdLst/>
              <a:ahLst/>
              <a:cxnLst/>
              <a:rect l="l" t="t" r="r" b="b"/>
              <a:pathLst>
                <a:path w="22898" h="22898" extrusionOk="0">
                  <a:moveTo>
                    <a:pt x="22665" y="1"/>
                  </a:moveTo>
                  <a:lnTo>
                    <a:pt x="0" y="22665"/>
                  </a:lnTo>
                  <a:cubicBezTo>
                    <a:pt x="176" y="22746"/>
                    <a:pt x="354" y="22823"/>
                    <a:pt x="533" y="22897"/>
                  </a:cubicBezTo>
                  <a:lnTo>
                    <a:pt x="22897" y="533"/>
                  </a:lnTo>
                  <a:cubicBezTo>
                    <a:pt x="22823" y="354"/>
                    <a:pt x="22747" y="177"/>
                    <a:pt x="2266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ackground 1">
  <p:cSld name="BLANK_1_1_1_1_1_1_1">
    <p:bg>
      <p:bgPr>
        <a:solidFill>
          <a:schemeClr val="accent4"/>
        </a:solidFill>
        <a:effectLst/>
      </p:bgPr>
    </p:bg>
    <p:spTree>
      <p:nvGrpSpPr>
        <p:cNvPr id="1" name="Shape 1148"/>
        <p:cNvGrpSpPr/>
        <p:nvPr/>
      </p:nvGrpSpPr>
      <p:grpSpPr>
        <a:xfrm>
          <a:off x="0" y="0"/>
          <a:ext cx="0" cy="0"/>
          <a:chOff x="0" y="0"/>
          <a:chExt cx="0" cy="0"/>
        </a:xfrm>
      </p:grpSpPr>
      <p:cxnSp>
        <p:nvCxnSpPr>
          <p:cNvPr id="1149" name="Google Shape;1149;p29"/>
          <p:cNvCxnSpPr/>
          <p:nvPr/>
        </p:nvCxnSpPr>
        <p:spPr>
          <a:xfrm>
            <a:off x="8516600" y="6520375"/>
            <a:ext cx="306000" cy="0"/>
          </a:xfrm>
          <a:prstGeom prst="straightConnector1">
            <a:avLst/>
          </a:prstGeom>
          <a:noFill/>
          <a:ln w="9525" cap="flat" cmpd="sng">
            <a:solidFill>
              <a:schemeClr val="lt1"/>
            </a:solidFill>
            <a:prstDash val="solid"/>
            <a:round/>
            <a:headEnd type="none" w="med" len="med"/>
            <a:tailEnd type="stealth" w="med" len="med"/>
          </a:ln>
        </p:spPr>
      </p:cxnSp>
      <p:cxnSp>
        <p:nvCxnSpPr>
          <p:cNvPr id="1150" name="Google Shape;1150;p29"/>
          <p:cNvCxnSpPr/>
          <p:nvPr/>
        </p:nvCxnSpPr>
        <p:spPr>
          <a:xfrm rot="10800000">
            <a:off x="8025400" y="6520375"/>
            <a:ext cx="306000" cy="0"/>
          </a:xfrm>
          <a:prstGeom prst="straightConnector1">
            <a:avLst/>
          </a:prstGeom>
          <a:noFill/>
          <a:ln w="9525" cap="flat" cmpd="sng">
            <a:solidFill>
              <a:schemeClr val="lt1"/>
            </a:solidFill>
            <a:prstDash val="solid"/>
            <a:round/>
            <a:headEnd type="none" w="med" len="med"/>
            <a:tailEnd type="stealth" w="med" len="med"/>
          </a:ln>
        </p:spPr>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ackground 2">
  <p:cSld name="BLANK_1_1_1_1_1_1_1_1">
    <p:bg>
      <p:bgPr>
        <a:solidFill>
          <a:schemeClr val="accent1"/>
        </a:solidFill>
        <a:effectLst/>
      </p:bgPr>
    </p:bg>
    <p:spTree>
      <p:nvGrpSpPr>
        <p:cNvPr id="1" name="Shape 1151"/>
        <p:cNvGrpSpPr/>
        <p:nvPr/>
      </p:nvGrpSpPr>
      <p:grpSpPr>
        <a:xfrm>
          <a:off x="0" y="0"/>
          <a:ext cx="0" cy="0"/>
          <a:chOff x="0" y="0"/>
          <a:chExt cx="0" cy="0"/>
        </a:xfrm>
      </p:grpSpPr>
      <p:cxnSp>
        <p:nvCxnSpPr>
          <p:cNvPr id="1152" name="Google Shape;1152;p30"/>
          <p:cNvCxnSpPr/>
          <p:nvPr/>
        </p:nvCxnSpPr>
        <p:spPr>
          <a:xfrm>
            <a:off x="8516600" y="6520375"/>
            <a:ext cx="306000" cy="0"/>
          </a:xfrm>
          <a:prstGeom prst="straightConnector1">
            <a:avLst/>
          </a:prstGeom>
          <a:noFill/>
          <a:ln w="9525" cap="flat" cmpd="sng">
            <a:solidFill>
              <a:schemeClr val="lt1"/>
            </a:solidFill>
            <a:prstDash val="solid"/>
            <a:round/>
            <a:headEnd type="none" w="med" len="med"/>
            <a:tailEnd type="stealth" w="med" len="med"/>
          </a:ln>
        </p:spPr>
      </p:cxnSp>
      <p:cxnSp>
        <p:nvCxnSpPr>
          <p:cNvPr id="1153" name="Google Shape;1153;p30"/>
          <p:cNvCxnSpPr/>
          <p:nvPr/>
        </p:nvCxnSpPr>
        <p:spPr>
          <a:xfrm rot="10800000">
            <a:off x="8025400" y="6520375"/>
            <a:ext cx="306000" cy="0"/>
          </a:xfrm>
          <a:prstGeom prst="straightConnector1">
            <a:avLst/>
          </a:prstGeom>
          <a:noFill/>
          <a:ln w="9525" cap="flat" cmpd="sng">
            <a:solidFill>
              <a:schemeClr val="lt1"/>
            </a:solidFill>
            <a:prstDash val="solid"/>
            <a:round/>
            <a:headEnd type="none" w="med" len="med"/>
            <a:tailEnd type="stealth" w="med" len="med"/>
          </a:ln>
        </p:spPr>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Background 3">
  <p:cSld name="BLANK_1_1_1_1_1_1_1_1_1">
    <p:bg>
      <p:bgPr>
        <a:solidFill>
          <a:schemeClr val="lt2"/>
        </a:solidFill>
        <a:effectLst/>
      </p:bgPr>
    </p:bg>
    <p:spTree>
      <p:nvGrpSpPr>
        <p:cNvPr id="1" name="Shape 1154"/>
        <p:cNvGrpSpPr/>
        <p:nvPr/>
      </p:nvGrpSpPr>
      <p:grpSpPr>
        <a:xfrm>
          <a:off x="0" y="0"/>
          <a:ext cx="0" cy="0"/>
          <a:chOff x="0" y="0"/>
          <a:chExt cx="0" cy="0"/>
        </a:xfrm>
      </p:grpSpPr>
      <p:cxnSp>
        <p:nvCxnSpPr>
          <p:cNvPr id="1155" name="Google Shape;1155;p31"/>
          <p:cNvCxnSpPr/>
          <p:nvPr/>
        </p:nvCxnSpPr>
        <p:spPr>
          <a:xfrm>
            <a:off x="8516600" y="6520375"/>
            <a:ext cx="306000" cy="0"/>
          </a:xfrm>
          <a:prstGeom prst="straightConnector1">
            <a:avLst/>
          </a:prstGeom>
          <a:noFill/>
          <a:ln w="9525" cap="flat" cmpd="sng">
            <a:solidFill>
              <a:schemeClr val="dk2"/>
            </a:solidFill>
            <a:prstDash val="solid"/>
            <a:round/>
            <a:headEnd type="none" w="med" len="med"/>
            <a:tailEnd type="stealth" w="med" len="med"/>
          </a:ln>
        </p:spPr>
      </p:cxnSp>
      <p:cxnSp>
        <p:nvCxnSpPr>
          <p:cNvPr id="1156" name="Google Shape;1156;p31"/>
          <p:cNvCxnSpPr/>
          <p:nvPr/>
        </p:nvCxnSpPr>
        <p:spPr>
          <a:xfrm rot="10800000">
            <a:off x="8025400" y="6520375"/>
            <a:ext cx="306000" cy="0"/>
          </a:xfrm>
          <a:prstGeom prst="straightConnector1">
            <a:avLst/>
          </a:prstGeom>
          <a:noFill/>
          <a:ln w="9525" cap="flat" cmpd="sng">
            <a:solidFill>
              <a:schemeClr val="dk2"/>
            </a:solidFill>
            <a:prstDash val="solid"/>
            <a:round/>
            <a:headEnd type="none" w="med" len="med"/>
            <a:tailEnd type="stealth" w="med" len="med"/>
          </a:ln>
        </p:spPr>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55"/>
        <p:cNvGrpSpPr/>
        <p:nvPr/>
      </p:nvGrpSpPr>
      <p:grpSpPr>
        <a:xfrm>
          <a:off x="0" y="0"/>
          <a:ext cx="0" cy="0"/>
          <a:chOff x="0" y="0"/>
          <a:chExt cx="0" cy="0"/>
        </a:xfrm>
      </p:grpSpPr>
      <p:sp>
        <p:nvSpPr>
          <p:cNvPr id="56" name="Google Shape;56;p3"/>
          <p:cNvSpPr/>
          <p:nvPr/>
        </p:nvSpPr>
        <p:spPr>
          <a:xfrm flipH="1">
            <a:off x="4375400" y="-274200"/>
            <a:ext cx="4812300" cy="7132200"/>
          </a:xfrm>
          <a:prstGeom prst="rtTriangl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7;p3"/>
          <p:cNvSpPr txBox="1">
            <a:spLocks noGrp="1"/>
          </p:cNvSpPr>
          <p:nvPr>
            <p:ph type="title"/>
          </p:nvPr>
        </p:nvSpPr>
        <p:spPr>
          <a:xfrm>
            <a:off x="720000" y="3015150"/>
            <a:ext cx="4360200" cy="11223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45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58" name="Google Shape;58;p3"/>
          <p:cNvSpPr txBox="1">
            <a:spLocks noGrp="1"/>
          </p:cNvSpPr>
          <p:nvPr>
            <p:ph type="title" idx="2" hasCustomPrompt="1"/>
          </p:nvPr>
        </p:nvSpPr>
        <p:spPr>
          <a:xfrm>
            <a:off x="720125" y="2500525"/>
            <a:ext cx="4360200" cy="15933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6000"/>
              <a:buNone/>
              <a:defRPr sz="10000">
                <a:solidFill>
                  <a:schemeClr val="accent6"/>
                </a:solidFill>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59" name="Google Shape;59;p3"/>
          <p:cNvSpPr txBox="1">
            <a:spLocks noGrp="1"/>
          </p:cNvSpPr>
          <p:nvPr>
            <p:ph type="subTitle" idx="1"/>
          </p:nvPr>
        </p:nvSpPr>
        <p:spPr>
          <a:xfrm>
            <a:off x="720000" y="4007053"/>
            <a:ext cx="4360200" cy="6033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lvl1pPr>
            <a:lvl2pPr lvl="1" algn="ctr" rtl="0">
              <a:lnSpc>
                <a:spcPct val="100000"/>
              </a:lnSpc>
              <a:spcBef>
                <a:spcPts val="160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cxnSp>
        <p:nvCxnSpPr>
          <p:cNvPr id="60" name="Google Shape;60;p3"/>
          <p:cNvCxnSpPr/>
          <p:nvPr/>
        </p:nvCxnSpPr>
        <p:spPr>
          <a:xfrm>
            <a:off x="8516600" y="6520375"/>
            <a:ext cx="306000" cy="0"/>
          </a:xfrm>
          <a:prstGeom prst="straightConnector1">
            <a:avLst/>
          </a:prstGeom>
          <a:noFill/>
          <a:ln w="9525" cap="flat" cmpd="sng">
            <a:solidFill>
              <a:schemeClr val="lt1"/>
            </a:solidFill>
            <a:prstDash val="solid"/>
            <a:round/>
            <a:headEnd type="none" w="med" len="med"/>
            <a:tailEnd type="stealth" w="med" len="med"/>
          </a:ln>
        </p:spPr>
      </p:cxnSp>
      <p:cxnSp>
        <p:nvCxnSpPr>
          <p:cNvPr id="61" name="Google Shape;61;p3"/>
          <p:cNvCxnSpPr/>
          <p:nvPr/>
        </p:nvCxnSpPr>
        <p:spPr>
          <a:xfrm rot="10800000">
            <a:off x="8025400" y="6520375"/>
            <a:ext cx="306000" cy="0"/>
          </a:xfrm>
          <a:prstGeom prst="straightConnector1">
            <a:avLst/>
          </a:prstGeom>
          <a:noFill/>
          <a:ln w="9525" cap="flat" cmpd="sng">
            <a:solidFill>
              <a:schemeClr val="lt1"/>
            </a:solidFill>
            <a:prstDash val="solid"/>
            <a:round/>
            <a:headEnd type="none" w="med" len="med"/>
            <a:tailEnd type="stealth" w="med" len="med"/>
          </a:ln>
        </p:spPr>
      </p:cxnSp>
      <p:sp>
        <p:nvSpPr>
          <p:cNvPr id="62" name="Google Shape;62;p3"/>
          <p:cNvSpPr txBox="1">
            <a:spLocks noGrp="1"/>
          </p:cNvSpPr>
          <p:nvPr>
            <p:ph type="subTitle" idx="3"/>
          </p:nvPr>
        </p:nvSpPr>
        <p:spPr>
          <a:xfrm>
            <a:off x="882350" y="720000"/>
            <a:ext cx="1106700" cy="462000"/>
          </a:xfrm>
          <a:prstGeom prst="rect">
            <a:avLst/>
          </a:prstGeom>
          <a:ln>
            <a:noFill/>
          </a:ln>
        </p:spPr>
        <p:txBody>
          <a:bodyPr spcFirstLastPara="1" wrap="square" lIns="91425" tIns="91425" rIns="91425" bIns="91425" anchor="ctr" anchorCtr="0">
            <a:noAutofit/>
          </a:bodyPr>
          <a:lstStyle>
            <a:lvl1pPr lvl="0" algn="ctr" rtl="0">
              <a:lnSpc>
                <a:spcPct val="100000"/>
              </a:lnSpc>
              <a:spcBef>
                <a:spcPts val="0"/>
              </a:spcBef>
              <a:spcAft>
                <a:spcPts val="0"/>
              </a:spcAft>
              <a:buClr>
                <a:schemeClr val="dk2"/>
              </a:buClr>
              <a:buSzPts val="1100"/>
              <a:buNone/>
              <a:defRPr sz="950"/>
            </a:lvl1pPr>
            <a:lvl2pPr lvl="1" algn="ctr" rtl="0">
              <a:lnSpc>
                <a:spcPct val="100000"/>
              </a:lnSpc>
              <a:spcBef>
                <a:spcPts val="0"/>
              </a:spcBef>
              <a:spcAft>
                <a:spcPts val="0"/>
              </a:spcAft>
              <a:buClr>
                <a:schemeClr val="dk2"/>
              </a:buClr>
              <a:buSzPts val="1100"/>
              <a:buNone/>
              <a:defRPr sz="1100" b="1">
                <a:solidFill>
                  <a:schemeClr val="dk2"/>
                </a:solidFill>
              </a:defRPr>
            </a:lvl2pPr>
            <a:lvl3pPr lvl="2" algn="ctr" rtl="0">
              <a:lnSpc>
                <a:spcPct val="100000"/>
              </a:lnSpc>
              <a:spcBef>
                <a:spcPts val="0"/>
              </a:spcBef>
              <a:spcAft>
                <a:spcPts val="0"/>
              </a:spcAft>
              <a:buClr>
                <a:schemeClr val="dk2"/>
              </a:buClr>
              <a:buSzPts val="1100"/>
              <a:buNone/>
              <a:defRPr sz="1100" b="1">
                <a:solidFill>
                  <a:schemeClr val="dk2"/>
                </a:solidFill>
              </a:defRPr>
            </a:lvl3pPr>
            <a:lvl4pPr lvl="3" algn="ctr" rtl="0">
              <a:lnSpc>
                <a:spcPct val="100000"/>
              </a:lnSpc>
              <a:spcBef>
                <a:spcPts val="0"/>
              </a:spcBef>
              <a:spcAft>
                <a:spcPts val="0"/>
              </a:spcAft>
              <a:buClr>
                <a:schemeClr val="dk2"/>
              </a:buClr>
              <a:buSzPts val="1100"/>
              <a:buNone/>
              <a:defRPr sz="1100" b="1">
                <a:solidFill>
                  <a:schemeClr val="dk2"/>
                </a:solidFill>
              </a:defRPr>
            </a:lvl4pPr>
            <a:lvl5pPr lvl="4" algn="ctr" rtl="0">
              <a:lnSpc>
                <a:spcPct val="100000"/>
              </a:lnSpc>
              <a:spcBef>
                <a:spcPts val="0"/>
              </a:spcBef>
              <a:spcAft>
                <a:spcPts val="0"/>
              </a:spcAft>
              <a:buClr>
                <a:schemeClr val="dk2"/>
              </a:buClr>
              <a:buSzPts val="1100"/>
              <a:buNone/>
              <a:defRPr sz="1100" b="1">
                <a:solidFill>
                  <a:schemeClr val="dk2"/>
                </a:solidFill>
              </a:defRPr>
            </a:lvl5pPr>
            <a:lvl6pPr lvl="5" algn="ctr" rtl="0">
              <a:lnSpc>
                <a:spcPct val="100000"/>
              </a:lnSpc>
              <a:spcBef>
                <a:spcPts val="0"/>
              </a:spcBef>
              <a:spcAft>
                <a:spcPts val="0"/>
              </a:spcAft>
              <a:buClr>
                <a:schemeClr val="dk2"/>
              </a:buClr>
              <a:buSzPts val="1100"/>
              <a:buNone/>
              <a:defRPr sz="1100" b="1">
                <a:solidFill>
                  <a:schemeClr val="dk2"/>
                </a:solidFill>
              </a:defRPr>
            </a:lvl6pPr>
            <a:lvl7pPr lvl="6" algn="ctr" rtl="0">
              <a:lnSpc>
                <a:spcPct val="100000"/>
              </a:lnSpc>
              <a:spcBef>
                <a:spcPts val="0"/>
              </a:spcBef>
              <a:spcAft>
                <a:spcPts val="0"/>
              </a:spcAft>
              <a:buClr>
                <a:schemeClr val="dk2"/>
              </a:buClr>
              <a:buSzPts val="1100"/>
              <a:buNone/>
              <a:defRPr sz="1100" b="1">
                <a:solidFill>
                  <a:schemeClr val="dk2"/>
                </a:solidFill>
              </a:defRPr>
            </a:lvl7pPr>
            <a:lvl8pPr lvl="7" algn="ctr" rtl="0">
              <a:lnSpc>
                <a:spcPct val="100000"/>
              </a:lnSpc>
              <a:spcBef>
                <a:spcPts val="0"/>
              </a:spcBef>
              <a:spcAft>
                <a:spcPts val="0"/>
              </a:spcAft>
              <a:buClr>
                <a:schemeClr val="dk2"/>
              </a:buClr>
              <a:buSzPts val="1100"/>
              <a:buNone/>
              <a:defRPr sz="1100" b="1">
                <a:solidFill>
                  <a:schemeClr val="dk2"/>
                </a:solidFill>
              </a:defRPr>
            </a:lvl8pPr>
            <a:lvl9pPr lvl="8" algn="ctr" rtl="0">
              <a:lnSpc>
                <a:spcPct val="100000"/>
              </a:lnSpc>
              <a:spcBef>
                <a:spcPts val="0"/>
              </a:spcBef>
              <a:spcAft>
                <a:spcPts val="0"/>
              </a:spcAft>
              <a:buClr>
                <a:schemeClr val="dk2"/>
              </a:buClr>
              <a:buSzPts val="1100"/>
              <a:buNone/>
              <a:defRPr sz="1100" b="1">
                <a:solidFill>
                  <a:schemeClr val="dk2"/>
                </a:solidFill>
              </a:defRPr>
            </a:lvl9pPr>
          </a:lstStyle>
          <a:p>
            <a:endParaRPr/>
          </a:p>
        </p:txBody>
      </p:sp>
      <p:sp>
        <p:nvSpPr>
          <p:cNvPr id="63" name="Google Shape;63;p3">
            <a:hlinkClick r:id="rId2" action="ppaction://hlinksldjump"/>
          </p:cNvPr>
          <p:cNvSpPr txBox="1">
            <a:spLocks noGrp="1"/>
          </p:cNvSpPr>
          <p:nvPr>
            <p:ph type="subTitle" idx="4"/>
          </p:nvPr>
        </p:nvSpPr>
        <p:spPr>
          <a:xfrm>
            <a:off x="2046700" y="720000"/>
            <a:ext cx="1106700" cy="462000"/>
          </a:xfrm>
          <a:prstGeom prst="rect">
            <a:avLst/>
          </a:prstGeom>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solidFill>
                  <a:schemeClr val="dk2"/>
                </a:solidFill>
                <a:latin typeface="Nunito Black"/>
                <a:ea typeface="Nunito Black"/>
                <a:cs typeface="Nunito Black"/>
                <a:sym typeface="Nunito Black"/>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
        <p:nvSpPr>
          <p:cNvPr id="64" name="Google Shape;64;p3"/>
          <p:cNvSpPr txBox="1">
            <a:spLocks noGrp="1"/>
          </p:cNvSpPr>
          <p:nvPr>
            <p:ph type="subTitle" idx="5"/>
          </p:nvPr>
        </p:nvSpPr>
        <p:spPr>
          <a:xfrm>
            <a:off x="3211050" y="720000"/>
            <a:ext cx="1106700" cy="462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latin typeface="Nunito"/>
                <a:ea typeface="Nunito"/>
                <a:cs typeface="Nunito"/>
                <a:sym typeface="Nunito"/>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
        <p:nvSpPr>
          <p:cNvPr id="65" name="Google Shape;65;p3"/>
          <p:cNvSpPr txBox="1">
            <a:spLocks noGrp="1"/>
          </p:cNvSpPr>
          <p:nvPr>
            <p:ph type="subTitle" idx="6"/>
          </p:nvPr>
        </p:nvSpPr>
        <p:spPr>
          <a:xfrm>
            <a:off x="4375400" y="720000"/>
            <a:ext cx="1106700" cy="462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latin typeface="Nunito"/>
                <a:ea typeface="Nunito"/>
                <a:cs typeface="Nunito"/>
                <a:sym typeface="Nunito"/>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grpSp>
        <p:nvGrpSpPr>
          <p:cNvPr id="66" name="Google Shape;66;p3"/>
          <p:cNvGrpSpPr/>
          <p:nvPr/>
        </p:nvGrpSpPr>
        <p:grpSpPr>
          <a:xfrm>
            <a:off x="7231717" y="4"/>
            <a:ext cx="231644" cy="989428"/>
            <a:chOff x="1025030" y="3217579"/>
            <a:chExt cx="231644" cy="989428"/>
          </a:xfrm>
        </p:grpSpPr>
        <p:sp>
          <p:nvSpPr>
            <p:cNvPr id="67" name="Google Shape;67;p3"/>
            <p:cNvSpPr/>
            <p:nvPr/>
          </p:nvSpPr>
          <p:spPr>
            <a:xfrm>
              <a:off x="1025030" y="3217579"/>
              <a:ext cx="231644" cy="251327"/>
            </a:xfrm>
            <a:custGeom>
              <a:avLst/>
              <a:gdLst/>
              <a:ahLst/>
              <a:cxnLst/>
              <a:rect l="l" t="t" r="r" b="b"/>
              <a:pathLst>
                <a:path w="7133" h="7540" extrusionOk="0">
                  <a:moveTo>
                    <a:pt x="7133" y="0"/>
                  </a:moveTo>
                  <a:lnTo>
                    <a:pt x="1" y="7132"/>
                  </a:lnTo>
                  <a:lnTo>
                    <a:pt x="1" y="7539"/>
                  </a:lnTo>
                  <a:lnTo>
                    <a:pt x="7133" y="409"/>
                  </a:lnTo>
                  <a:lnTo>
                    <a:pt x="7133"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3"/>
            <p:cNvSpPr/>
            <p:nvPr/>
          </p:nvSpPr>
          <p:spPr>
            <a:xfrm>
              <a:off x="1025030" y="3340579"/>
              <a:ext cx="231644" cy="251360"/>
            </a:xfrm>
            <a:custGeom>
              <a:avLst/>
              <a:gdLst/>
              <a:ahLst/>
              <a:cxnLst/>
              <a:rect l="l" t="t" r="r" b="b"/>
              <a:pathLst>
                <a:path w="7133" h="7541" extrusionOk="0">
                  <a:moveTo>
                    <a:pt x="7133" y="0"/>
                  </a:moveTo>
                  <a:lnTo>
                    <a:pt x="1" y="7132"/>
                  </a:lnTo>
                  <a:lnTo>
                    <a:pt x="1" y="7540"/>
                  </a:lnTo>
                  <a:lnTo>
                    <a:pt x="7133" y="408"/>
                  </a:lnTo>
                  <a:lnTo>
                    <a:pt x="7133"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3"/>
            <p:cNvSpPr/>
            <p:nvPr/>
          </p:nvSpPr>
          <p:spPr>
            <a:xfrm>
              <a:off x="1025030" y="3463646"/>
              <a:ext cx="231644" cy="251260"/>
            </a:xfrm>
            <a:custGeom>
              <a:avLst/>
              <a:gdLst/>
              <a:ahLst/>
              <a:cxnLst/>
              <a:rect l="l" t="t" r="r" b="b"/>
              <a:pathLst>
                <a:path w="7133" h="7538" extrusionOk="0">
                  <a:moveTo>
                    <a:pt x="7133" y="1"/>
                  </a:moveTo>
                  <a:lnTo>
                    <a:pt x="1" y="7131"/>
                  </a:lnTo>
                  <a:lnTo>
                    <a:pt x="1" y="7538"/>
                  </a:lnTo>
                  <a:lnTo>
                    <a:pt x="7133" y="406"/>
                  </a:lnTo>
                  <a:lnTo>
                    <a:pt x="7133"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70;p3"/>
            <p:cNvSpPr/>
            <p:nvPr/>
          </p:nvSpPr>
          <p:spPr>
            <a:xfrm>
              <a:off x="1025030" y="3586646"/>
              <a:ext cx="231644" cy="251327"/>
            </a:xfrm>
            <a:custGeom>
              <a:avLst/>
              <a:gdLst/>
              <a:ahLst/>
              <a:cxnLst/>
              <a:rect l="l" t="t" r="r" b="b"/>
              <a:pathLst>
                <a:path w="7133" h="7540" extrusionOk="0">
                  <a:moveTo>
                    <a:pt x="7133" y="0"/>
                  </a:moveTo>
                  <a:lnTo>
                    <a:pt x="1" y="7132"/>
                  </a:lnTo>
                  <a:lnTo>
                    <a:pt x="1" y="7539"/>
                  </a:lnTo>
                  <a:lnTo>
                    <a:pt x="7133" y="409"/>
                  </a:lnTo>
                  <a:lnTo>
                    <a:pt x="7133"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71;p3"/>
            <p:cNvSpPr/>
            <p:nvPr/>
          </p:nvSpPr>
          <p:spPr>
            <a:xfrm>
              <a:off x="1025030" y="3709646"/>
              <a:ext cx="231644" cy="251360"/>
            </a:xfrm>
            <a:custGeom>
              <a:avLst/>
              <a:gdLst/>
              <a:ahLst/>
              <a:cxnLst/>
              <a:rect l="l" t="t" r="r" b="b"/>
              <a:pathLst>
                <a:path w="7133" h="7541" extrusionOk="0">
                  <a:moveTo>
                    <a:pt x="7133" y="0"/>
                  </a:moveTo>
                  <a:lnTo>
                    <a:pt x="1" y="7132"/>
                  </a:lnTo>
                  <a:lnTo>
                    <a:pt x="1" y="7540"/>
                  </a:lnTo>
                  <a:lnTo>
                    <a:pt x="7133" y="408"/>
                  </a:lnTo>
                  <a:lnTo>
                    <a:pt x="7133"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3"/>
            <p:cNvSpPr/>
            <p:nvPr/>
          </p:nvSpPr>
          <p:spPr>
            <a:xfrm>
              <a:off x="1025030" y="3832713"/>
              <a:ext cx="231644" cy="251327"/>
            </a:xfrm>
            <a:custGeom>
              <a:avLst/>
              <a:gdLst/>
              <a:ahLst/>
              <a:cxnLst/>
              <a:rect l="l" t="t" r="r" b="b"/>
              <a:pathLst>
                <a:path w="7133" h="7540" extrusionOk="0">
                  <a:moveTo>
                    <a:pt x="7133" y="1"/>
                  </a:moveTo>
                  <a:lnTo>
                    <a:pt x="1" y="7131"/>
                  </a:lnTo>
                  <a:lnTo>
                    <a:pt x="1" y="7539"/>
                  </a:lnTo>
                  <a:lnTo>
                    <a:pt x="7133" y="406"/>
                  </a:lnTo>
                  <a:lnTo>
                    <a:pt x="7133"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3;p3"/>
            <p:cNvSpPr/>
            <p:nvPr/>
          </p:nvSpPr>
          <p:spPr>
            <a:xfrm>
              <a:off x="1025030" y="3955713"/>
              <a:ext cx="231644" cy="251294"/>
            </a:xfrm>
            <a:custGeom>
              <a:avLst/>
              <a:gdLst/>
              <a:ahLst/>
              <a:cxnLst/>
              <a:rect l="l" t="t" r="r" b="b"/>
              <a:pathLst>
                <a:path w="7133" h="7539" extrusionOk="0">
                  <a:moveTo>
                    <a:pt x="7133" y="0"/>
                  </a:moveTo>
                  <a:lnTo>
                    <a:pt x="1" y="7132"/>
                  </a:lnTo>
                  <a:lnTo>
                    <a:pt x="1" y="7539"/>
                  </a:lnTo>
                  <a:lnTo>
                    <a:pt x="7133" y="409"/>
                  </a:lnTo>
                  <a:lnTo>
                    <a:pt x="7133"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4" name="Google Shape;74;p3"/>
          <p:cNvGrpSpPr/>
          <p:nvPr/>
        </p:nvGrpSpPr>
        <p:grpSpPr>
          <a:xfrm>
            <a:off x="8746134" y="855542"/>
            <a:ext cx="26435" cy="1078706"/>
            <a:chOff x="675575" y="2927725"/>
            <a:chExt cx="20350" cy="809050"/>
          </a:xfrm>
        </p:grpSpPr>
        <p:sp>
          <p:nvSpPr>
            <p:cNvPr id="75" name="Google Shape;75;p3"/>
            <p:cNvSpPr/>
            <p:nvPr/>
          </p:nvSpPr>
          <p:spPr>
            <a:xfrm>
              <a:off x="675600" y="3716450"/>
              <a:ext cx="20325" cy="20325"/>
            </a:xfrm>
            <a:custGeom>
              <a:avLst/>
              <a:gdLst/>
              <a:ahLst/>
              <a:cxnLst/>
              <a:rect l="l" t="t" r="r" b="b"/>
              <a:pathLst>
                <a:path w="813" h="813" extrusionOk="0">
                  <a:moveTo>
                    <a:pt x="406" y="1"/>
                  </a:moveTo>
                  <a:cubicBezTo>
                    <a:pt x="183" y="1"/>
                    <a:pt x="1" y="183"/>
                    <a:pt x="1" y="408"/>
                  </a:cubicBezTo>
                  <a:cubicBezTo>
                    <a:pt x="1" y="632"/>
                    <a:pt x="183" y="813"/>
                    <a:pt x="406" y="813"/>
                  </a:cubicBezTo>
                  <a:cubicBezTo>
                    <a:pt x="631" y="813"/>
                    <a:pt x="813" y="632"/>
                    <a:pt x="813" y="408"/>
                  </a:cubicBezTo>
                  <a:cubicBezTo>
                    <a:pt x="813" y="183"/>
                    <a:pt x="631" y="1"/>
                    <a:pt x="40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76;p3"/>
            <p:cNvSpPr/>
            <p:nvPr/>
          </p:nvSpPr>
          <p:spPr>
            <a:xfrm>
              <a:off x="675600" y="3585075"/>
              <a:ext cx="20325" cy="20300"/>
            </a:xfrm>
            <a:custGeom>
              <a:avLst/>
              <a:gdLst/>
              <a:ahLst/>
              <a:cxnLst/>
              <a:rect l="l" t="t" r="r" b="b"/>
              <a:pathLst>
                <a:path w="813" h="812" extrusionOk="0">
                  <a:moveTo>
                    <a:pt x="406" y="0"/>
                  </a:moveTo>
                  <a:cubicBezTo>
                    <a:pt x="183" y="0"/>
                    <a:pt x="1" y="182"/>
                    <a:pt x="1" y="405"/>
                  </a:cubicBezTo>
                  <a:cubicBezTo>
                    <a:pt x="1" y="630"/>
                    <a:pt x="183" y="812"/>
                    <a:pt x="406" y="812"/>
                  </a:cubicBezTo>
                  <a:cubicBezTo>
                    <a:pt x="631" y="812"/>
                    <a:pt x="813" y="630"/>
                    <a:pt x="813" y="405"/>
                  </a:cubicBezTo>
                  <a:cubicBezTo>
                    <a:pt x="813" y="182"/>
                    <a:pt x="631" y="0"/>
                    <a:pt x="40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77;p3"/>
            <p:cNvSpPr/>
            <p:nvPr/>
          </p:nvSpPr>
          <p:spPr>
            <a:xfrm>
              <a:off x="675600" y="3453600"/>
              <a:ext cx="20325" cy="20300"/>
            </a:xfrm>
            <a:custGeom>
              <a:avLst/>
              <a:gdLst/>
              <a:ahLst/>
              <a:cxnLst/>
              <a:rect l="l" t="t" r="r" b="b"/>
              <a:pathLst>
                <a:path w="813" h="812" extrusionOk="0">
                  <a:moveTo>
                    <a:pt x="406" y="0"/>
                  </a:moveTo>
                  <a:cubicBezTo>
                    <a:pt x="183" y="0"/>
                    <a:pt x="1" y="182"/>
                    <a:pt x="1" y="405"/>
                  </a:cubicBezTo>
                  <a:cubicBezTo>
                    <a:pt x="1" y="630"/>
                    <a:pt x="183" y="812"/>
                    <a:pt x="406" y="812"/>
                  </a:cubicBezTo>
                  <a:cubicBezTo>
                    <a:pt x="631" y="812"/>
                    <a:pt x="813" y="630"/>
                    <a:pt x="813" y="405"/>
                  </a:cubicBezTo>
                  <a:cubicBezTo>
                    <a:pt x="813" y="182"/>
                    <a:pt x="631" y="0"/>
                    <a:pt x="40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8;p3"/>
            <p:cNvSpPr/>
            <p:nvPr/>
          </p:nvSpPr>
          <p:spPr>
            <a:xfrm>
              <a:off x="675600" y="3322125"/>
              <a:ext cx="20325" cy="20325"/>
            </a:xfrm>
            <a:custGeom>
              <a:avLst/>
              <a:gdLst/>
              <a:ahLst/>
              <a:cxnLst/>
              <a:rect l="l" t="t" r="r" b="b"/>
              <a:pathLst>
                <a:path w="813" h="813" extrusionOk="0">
                  <a:moveTo>
                    <a:pt x="406" y="0"/>
                  </a:moveTo>
                  <a:cubicBezTo>
                    <a:pt x="183" y="0"/>
                    <a:pt x="1" y="182"/>
                    <a:pt x="1" y="405"/>
                  </a:cubicBezTo>
                  <a:cubicBezTo>
                    <a:pt x="1" y="630"/>
                    <a:pt x="183" y="812"/>
                    <a:pt x="406" y="812"/>
                  </a:cubicBezTo>
                  <a:cubicBezTo>
                    <a:pt x="631" y="812"/>
                    <a:pt x="813" y="630"/>
                    <a:pt x="813" y="405"/>
                  </a:cubicBezTo>
                  <a:cubicBezTo>
                    <a:pt x="813" y="182"/>
                    <a:pt x="631" y="0"/>
                    <a:pt x="40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79;p3"/>
            <p:cNvSpPr/>
            <p:nvPr/>
          </p:nvSpPr>
          <p:spPr>
            <a:xfrm>
              <a:off x="675575" y="3190650"/>
              <a:ext cx="20325" cy="20325"/>
            </a:xfrm>
            <a:custGeom>
              <a:avLst/>
              <a:gdLst/>
              <a:ahLst/>
              <a:cxnLst/>
              <a:rect l="l" t="t" r="r" b="b"/>
              <a:pathLst>
                <a:path w="813" h="813" extrusionOk="0">
                  <a:moveTo>
                    <a:pt x="405" y="0"/>
                  </a:moveTo>
                  <a:cubicBezTo>
                    <a:pt x="182" y="0"/>
                    <a:pt x="0" y="182"/>
                    <a:pt x="0" y="405"/>
                  </a:cubicBezTo>
                  <a:cubicBezTo>
                    <a:pt x="0" y="631"/>
                    <a:pt x="182" y="812"/>
                    <a:pt x="405" y="812"/>
                  </a:cubicBezTo>
                  <a:cubicBezTo>
                    <a:pt x="630" y="812"/>
                    <a:pt x="812" y="630"/>
                    <a:pt x="812" y="405"/>
                  </a:cubicBezTo>
                  <a:cubicBezTo>
                    <a:pt x="812" y="182"/>
                    <a:pt x="630" y="0"/>
                    <a:pt x="40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80;p3"/>
            <p:cNvSpPr/>
            <p:nvPr/>
          </p:nvSpPr>
          <p:spPr>
            <a:xfrm>
              <a:off x="675600" y="3059175"/>
              <a:ext cx="20325" cy="20325"/>
            </a:xfrm>
            <a:custGeom>
              <a:avLst/>
              <a:gdLst/>
              <a:ahLst/>
              <a:cxnLst/>
              <a:rect l="l" t="t" r="r" b="b"/>
              <a:pathLst>
                <a:path w="813" h="813" extrusionOk="0">
                  <a:moveTo>
                    <a:pt x="406" y="0"/>
                  </a:moveTo>
                  <a:cubicBezTo>
                    <a:pt x="183" y="0"/>
                    <a:pt x="1" y="182"/>
                    <a:pt x="1" y="405"/>
                  </a:cubicBezTo>
                  <a:cubicBezTo>
                    <a:pt x="1" y="630"/>
                    <a:pt x="183" y="812"/>
                    <a:pt x="406" y="812"/>
                  </a:cubicBezTo>
                  <a:cubicBezTo>
                    <a:pt x="631" y="812"/>
                    <a:pt x="813" y="630"/>
                    <a:pt x="813" y="405"/>
                  </a:cubicBezTo>
                  <a:cubicBezTo>
                    <a:pt x="813" y="182"/>
                    <a:pt x="631" y="0"/>
                    <a:pt x="40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81;p3"/>
            <p:cNvSpPr/>
            <p:nvPr/>
          </p:nvSpPr>
          <p:spPr>
            <a:xfrm>
              <a:off x="675575" y="2927725"/>
              <a:ext cx="20325" cy="20325"/>
            </a:xfrm>
            <a:custGeom>
              <a:avLst/>
              <a:gdLst/>
              <a:ahLst/>
              <a:cxnLst/>
              <a:rect l="l" t="t" r="r" b="b"/>
              <a:pathLst>
                <a:path w="813" h="813" extrusionOk="0">
                  <a:moveTo>
                    <a:pt x="405" y="1"/>
                  </a:moveTo>
                  <a:cubicBezTo>
                    <a:pt x="182" y="1"/>
                    <a:pt x="0" y="183"/>
                    <a:pt x="0" y="406"/>
                  </a:cubicBezTo>
                  <a:cubicBezTo>
                    <a:pt x="0" y="630"/>
                    <a:pt x="182" y="813"/>
                    <a:pt x="405" y="813"/>
                  </a:cubicBezTo>
                  <a:cubicBezTo>
                    <a:pt x="630" y="813"/>
                    <a:pt x="812" y="630"/>
                    <a:pt x="812" y="406"/>
                  </a:cubicBezTo>
                  <a:cubicBezTo>
                    <a:pt x="812" y="183"/>
                    <a:pt x="630" y="1"/>
                    <a:pt x="40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2" name="Google Shape;82;p3"/>
          <p:cNvSpPr/>
          <p:nvPr/>
        </p:nvSpPr>
        <p:spPr>
          <a:xfrm>
            <a:off x="406760" y="5759263"/>
            <a:ext cx="733253" cy="752615"/>
          </a:xfrm>
          <a:custGeom>
            <a:avLst/>
            <a:gdLst/>
            <a:ahLst/>
            <a:cxnLst/>
            <a:rect l="l" t="t" r="r" b="b"/>
            <a:pathLst>
              <a:path w="22579" h="22579" extrusionOk="0">
                <a:moveTo>
                  <a:pt x="0" y="1"/>
                </a:moveTo>
                <a:lnTo>
                  <a:pt x="0" y="22579"/>
                </a:lnTo>
                <a:lnTo>
                  <a:pt x="22578" y="22579"/>
                </a:lnTo>
                <a:lnTo>
                  <a:pt x="22578"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83;p3"/>
          <p:cNvSpPr/>
          <p:nvPr/>
        </p:nvSpPr>
        <p:spPr>
          <a:xfrm>
            <a:off x="402083" y="5850496"/>
            <a:ext cx="649110" cy="666250"/>
          </a:xfrm>
          <a:custGeom>
            <a:avLst/>
            <a:gdLst/>
            <a:ahLst/>
            <a:cxnLst/>
            <a:rect l="l" t="t" r="r" b="b"/>
            <a:pathLst>
              <a:path w="19988" h="19988" extrusionOk="0">
                <a:moveTo>
                  <a:pt x="16818" y="3169"/>
                </a:moveTo>
                <a:lnTo>
                  <a:pt x="16818" y="16820"/>
                </a:lnTo>
                <a:lnTo>
                  <a:pt x="3169" y="16820"/>
                </a:lnTo>
                <a:lnTo>
                  <a:pt x="3169" y="3169"/>
                </a:lnTo>
                <a:close/>
                <a:moveTo>
                  <a:pt x="19699" y="289"/>
                </a:moveTo>
                <a:lnTo>
                  <a:pt x="19699" y="16820"/>
                </a:lnTo>
                <a:lnTo>
                  <a:pt x="17105" y="16820"/>
                </a:lnTo>
                <a:lnTo>
                  <a:pt x="17105" y="2881"/>
                </a:lnTo>
                <a:lnTo>
                  <a:pt x="3169" y="2881"/>
                </a:lnTo>
                <a:lnTo>
                  <a:pt x="3169" y="289"/>
                </a:lnTo>
                <a:close/>
                <a:moveTo>
                  <a:pt x="2882" y="3169"/>
                </a:moveTo>
                <a:lnTo>
                  <a:pt x="2882" y="17108"/>
                </a:lnTo>
                <a:lnTo>
                  <a:pt x="16818" y="17108"/>
                </a:lnTo>
                <a:lnTo>
                  <a:pt x="16818" y="19699"/>
                </a:lnTo>
                <a:lnTo>
                  <a:pt x="288" y="19699"/>
                </a:lnTo>
                <a:lnTo>
                  <a:pt x="288" y="3169"/>
                </a:lnTo>
                <a:close/>
                <a:moveTo>
                  <a:pt x="2881" y="0"/>
                </a:moveTo>
                <a:lnTo>
                  <a:pt x="2881" y="2881"/>
                </a:lnTo>
                <a:lnTo>
                  <a:pt x="0" y="2881"/>
                </a:lnTo>
                <a:lnTo>
                  <a:pt x="0" y="19987"/>
                </a:lnTo>
                <a:lnTo>
                  <a:pt x="17107" y="19987"/>
                </a:lnTo>
                <a:lnTo>
                  <a:pt x="17107" y="17108"/>
                </a:lnTo>
                <a:lnTo>
                  <a:pt x="19987" y="17108"/>
                </a:lnTo>
                <a:lnTo>
                  <a:pt x="19987"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4" name="Google Shape;84;p3"/>
          <p:cNvCxnSpPr/>
          <p:nvPr/>
        </p:nvCxnSpPr>
        <p:spPr>
          <a:xfrm>
            <a:off x="810959" y="719996"/>
            <a:ext cx="0" cy="462300"/>
          </a:xfrm>
          <a:prstGeom prst="straightConnector1">
            <a:avLst/>
          </a:prstGeom>
          <a:noFill/>
          <a:ln w="9525" cap="flat" cmpd="sng">
            <a:solidFill>
              <a:schemeClr val="dk2"/>
            </a:solidFill>
            <a:prstDash val="solid"/>
            <a:round/>
            <a:headEnd type="none" w="med" len="med"/>
            <a:tailEnd type="none" w="med" len="med"/>
          </a:ln>
        </p:spPr>
      </p:cxnSp>
      <p:sp>
        <p:nvSpPr>
          <p:cNvPr id="85" name="Google Shape;85;p3"/>
          <p:cNvSpPr txBox="1">
            <a:spLocks noGrp="1"/>
          </p:cNvSpPr>
          <p:nvPr>
            <p:ph type="subTitle" idx="7"/>
          </p:nvPr>
        </p:nvSpPr>
        <p:spPr>
          <a:xfrm>
            <a:off x="5539750" y="720000"/>
            <a:ext cx="1106700" cy="462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latin typeface="Nunito"/>
                <a:ea typeface="Nunito"/>
                <a:cs typeface="Nunito"/>
                <a:sym typeface="Nunito"/>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86"/>
        <p:cNvGrpSpPr/>
        <p:nvPr/>
      </p:nvGrpSpPr>
      <p:grpSpPr>
        <a:xfrm>
          <a:off x="0" y="0"/>
          <a:ext cx="0" cy="0"/>
          <a:chOff x="0" y="0"/>
          <a:chExt cx="0" cy="0"/>
        </a:xfrm>
      </p:grpSpPr>
      <p:sp>
        <p:nvSpPr>
          <p:cNvPr id="87" name="Google Shape;87;p4"/>
          <p:cNvSpPr txBox="1">
            <a:spLocks noGrp="1"/>
          </p:cNvSpPr>
          <p:nvPr>
            <p:ph type="title"/>
          </p:nvPr>
        </p:nvSpPr>
        <p:spPr>
          <a:xfrm>
            <a:off x="720000" y="720000"/>
            <a:ext cx="7704000" cy="7524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88" name="Google Shape;88;p4"/>
          <p:cNvSpPr txBox="1">
            <a:spLocks noGrp="1"/>
          </p:cNvSpPr>
          <p:nvPr>
            <p:ph type="body" idx="1"/>
          </p:nvPr>
        </p:nvSpPr>
        <p:spPr>
          <a:xfrm>
            <a:off x="720000" y="1527033"/>
            <a:ext cx="7704000" cy="4610400"/>
          </a:xfrm>
          <a:prstGeom prst="rect">
            <a:avLst/>
          </a:prstGeom>
        </p:spPr>
        <p:txBody>
          <a:bodyPr spcFirstLastPara="1" wrap="square" lIns="91425" tIns="91425" rIns="91425" bIns="91425" anchor="t" anchorCtr="0">
            <a:noAutofit/>
          </a:bodyPr>
          <a:lstStyle>
            <a:lvl1pPr marL="457200" lvl="0" indent="-317500" rtl="0">
              <a:lnSpc>
                <a:spcPct val="115000"/>
              </a:lnSpc>
              <a:spcBef>
                <a:spcPts val="0"/>
              </a:spcBef>
              <a:spcAft>
                <a:spcPts val="0"/>
              </a:spcAft>
              <a:buClr>
                <a:schemeClr val="accent5"/>
              </a:buClr>
              <a:buSzPts val="1400"/>
              <a:buChar char="●"/>
              <a:defRPr>
                <a:solidFill>
                  <a:srgbClr val="434343"/>
                </a:solidFill>
                <a:latin typeface="Nunito"/>
                <a:ea typeface="Nunito"/>
                <a:cs typeface="Nunito"/>
                <a:sym typeface="Nunito"/>
              </a:defRPr>
            </a:lvl1pPr>
            <a:lvl2pPr marL="914400" lvl="1" indent="-317500" rtl="0">
              <a:lnSpc>
                <a:spcPct val="115000"/>
              </a:lnSpc>
              <a:spcBef>
                <a:spcPts val="1600"/>
              </a:spcBef>
              <a:spcAft>
                <a:spcPts val="0"/>
              </a:spcAft>
              <a:buClr>
                <a:srgbClr val="434343"/>
              </a:buClr>
              <a:buSzPts val="1400"/>
              <a:buChar char="○"/>
              <a:defRPr>
                <a:solidFill>
                  <a:srgbClr val="434343"/>
                </a:solidFill>
              </a:defRPr>
            </a:lvl2pPr>
            <a:lvl3pPr marL="1371600" lvl="2" indent="-317500" rtl="0">
              <a:lnSpc>
                <a:spcPct val="115000"/>
              </a:lnSpc>
              <a:spcBef>
                <a:spcPts val="1600"/>
              </a:spcBef>
              <a:spcAft>
                <a:spcPts val="0"/>
              </a:spcAft>
              <a:buClr>
                <a:srgbClr val="434343"/>
              </a:buClr>
              <a:buSzPts val="1400"/>
              <a:buChar char="■"/>
              <a:defRPr>
                <a:solidFill>
                  <a:srgbClr val="434343"/>
                </a:solidFill>
              </a:defRPr>
            </a:lvl3pPr>
            <a:lvl4pPr marL="1828800" lvl="3" indent="-317500" rtl="0">
              <a:lnSpc>
                <a:spcPct val="115000"/>
              </a:lnSpc>
              <a:spcBef>
                <a:spcPts val="1600"/>
              </a:spcBef>
              <a:spcAft>
                <a:spcPts val="0"/>
              </a:spcAft>
              <a:buClr>
                <a:srgbClr val="434343"/>
              </a:buClr>
              <a:buSzPts val="1400"/>
              <a:buChar char="●"/>
              <a:defRPr>
                <a:solidFill>
                  <a:srgbClr val="434343"/>
                </a:solidFill>
              </a:defRPr>
            </a:lvl4pPr>
            <a:lvl5pPr marL="2286000" lvl="4" indent="-317500" rtl="0">
              <a:lnSpc>
                <a:spcPct val="115000"/>
              </a:lnSpc>
              <a:spcBef>
                <a:spcPts val="1600"/>
              </a:spcBef>
              <a:spcAft>
                <a:spcPts val="0"/>
              </a:spcAft>
              <a:buClr>
                <a:srgbClr val="434343"/>
              </a:buClr>
              <a:buSzPts val="1400"/>
              <a:buChar char="○"/>
              <a:defRPr>
                <a:solidFill>
                  <a:srgbClr val="434343"/>
                </a:solidFill>
              </a:defRPr>
            </a:lvl5pPr>
            <a:lvl6pPr marL="2743200" lvl="5" indent="-317500" rtl="0">
              <a:lnSpc>
                <a:spcPct val="115000"/>
              </a:lnSpc>
              <a:spcBef>
                <a:spcPts val="1600"/>
              </a:spcBef>
              <a:spcAft>
                <a:spcPts val="0"/>
              </a:spcAft>
              <a:buClr>
                <a:srgbClr val="434343"/>
              </a:buClr>
              <a:buSzPts val="1400"/>
              <a:buChar char="■"/>
              <a:defRPr>
                <a:solidFill>
                  <a:srgbClr val="434343"/>
                </a:solidFill>
              </a:defRPr>
            </a:lvl6pPr>
            <a:lvl7pPr marL="3200400" lvl="6" indent="-317500" rtl="0">
              <a:lnSpc>
                <a:spcPct val="115000"/>
              </a:lnSpc>
              <a:spcBef>
                <a:spcPts val="1600"/>
              </a:spcBef>
              <a:spcAft>
                <a:spcPts val="0"/>
              </a:spcAft>
              <a:buClr>
                <a:srgbClr val="434343"/>
              </a:buClr>
              <a:buSzPts val="1400"/>
              <a:buChar char="●"/>
              <a:defRPr>
                <a:solidFill>
                  <a:srgbClr val="434343"/>
                </a:solidFill>
              </a:defRPr>
            </a:lvl7pPr>
            <a:lvl8pPr marL="3657600" lvl="7" indent="-317500" rtl="0">
              <a:lnSpc>
                <a:spcPct val="115000"/>
              </a:lnSpc>
              <a:spcBef>
                <a:spcPts val="1600"/>
              </a:spcBef>
              <a:spcAft>
                <a:spcPts val="0"/>
              </a:spcAft>
              <a:buClr>
                <a:srgbClr val="434343"/>
              </a:buClr>
              <a:buSzPts val="1400"/>
              <a:buChar char="○"/>
              <a:defRPr>
                <a:solidFill>
                  <a:srgbClr val="434343"/>
                </a:solidFill>
              </a:defRPr>
            </a:lvl8pPr>
            <a:lvl9pPr marL="4114800" lvl="8" indent="-317500" rtl="0">
              <a:lnSpc>
                <a:spcPct val="115000"/>
              </a:lnSpc>
              <a:spcBef>
                <a:spcPts val="1600"/>
              </a:spcBef>
              <a:spcAft>
                <a:spcPts val="1600"/>
              </a:spcAft>
              <a:buClr>
                <a:srgbClr val="434343"/>
              </a:buClr>
              <a:buSzPts val="1400"/>
              <a:buChar char="■"/>
              <a:defRPr>
                <a:solidFill>
                  <a:srgbClr val="434343"/>
                </a:solidFill>
              </a:defRPr>
            </a:lvl9pPr>
          </a:lstStyle>
          <a:p>
            <a:endParaRPr/>
          </a:p>
        </p:txBody>
      </p:sp>
      <p:grpSp>
        <p:nvGrpSpPr>
          <p:cNvPr id="89" name="Google Shape;89;p4"/>
          <p:cNvGrpSpPr/>
          <p:nvPr/>
        </p:nvGrpSpPr>
        <p:grpSpPr>
          <a:xfrm>
            <a:off x="8715305" y="2854495"/>
            <a:ext cx="77973" cy="1149008"/>
            <a:chOff x="1195275" y="2211125"/>
            <a:chExt cx="61425" cy="886375"/>
          </a:xfrm>
        </p:grpSpPr>
        <p:sp>
          <p:nvSpPr>
            <p:cNvPr id="90" name="Google Shape;90;p4"/>
            <p:cNvSpPr/>
            <p:nvPr/>
          </p:nvSpPr>
          <p:spPr>
            <a:xfrm>
              <a:off x="1195275" y="2799225"/>
              <a:ext cx="61425" cy="48325"/>
            </a:xfrm>
            <a:custGeom>
              <a:avLst/>
              <a:gdLst/>
              <a:ahLst/>
              <a:cxnLst/>
              <a:rect l="l" t="t" r="r" b="b"/>
              <a:pathLst>
                <a:path w="2457" h="1933" extrusionOk="0">
                  <a:moveTo>
                    <a:pt x="1229" y="0"/>
                  </a:moveTo>
                  <a:lnTo>
                    <a:pt x="1" y="1932"/>
                  </a:lnTo>
                  <a:lnTo>
                    <a:pt x="2457" y="1932"/>
                  </a:lnTo>
                  <a:lnTo>
                    <a:pt x="1229"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4"/>
            <p:cNvSpPr/>
            <p:nvPr/>
          </p:nvSpPr>
          <p:spPr>
            <a:xfrm>
              <a:off x="1195275" y="3049150"/>
              <a:ext cx="61425" cy="48350"/>
            </a:xfrm>
            <a:custGeom>
              <a:avLst/>
              <a:gdLst/>
              <a:ahLst/>
              <a:cxnLst/>
              <a:rect l="l" t="t" r="r" b="b"/>
              <a:pathLst>
                <a:path w="2457" h="1934" extrusionOk="0">
                  <a:moveTo>
                    <a:pt x="1229" y="0"/>
                  </a:moveTo>
                  <a:lnTo>
                    <a:pt x="1" y="1934"/>
                  </a:lnTo>
                  <a:lnTo>
                    <a:pt x="2457" y="1934"/>
                  </a:lnTo>
                  <a:lnTo>
                    <a:pt x="1229"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4"/>
            <p:cNvSpPr/>
            <p:nvPr/>
          </p:nvSpPr>
          <p:spPr>
            <a:xfrm>
              <a:off x="1195275" y="2211125"/>
              <a:ext cx="61425" cy="48375"/>
            </a:xfrm>
            <a:custGeom>
              <a:avLst/>
              <a:gdLst/>
              <a:ahLst/>
              <a:cxnLst/>
              <a:rect l="l" t="t" r="r" b="b"/>
              <a:pathLst>
                <a:path w="2457" h="1935" extrusionOk="0">
                  <a:moveTo>
                    <a:pt x="1229" y="0"/>
                  </a:moveTo>
                  <a:lnTo>
                    <a:pt x="1" y="1934"/>
                  </a:lnTo>
                  <a:lnTo>
                    <a:pt x="2457" y="1934"/>
                  </a:lnTo>
                  <a:lnTo>
                    <a:pt x="1229"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4"/>
            <p:cNvSpPr/>
            <p:nvPr/>
          </p:nvSpPr>
          <p:spPr>
            <a:xfrm>
              <a:off x="1195275" y="2461050"/>
              <a:ext cx="61425" cy="48375"/>
            </a:xfrm>
            <a:custGeom>
              <a:avLst/>
              <a:gdLst/>
              <a:ahLst/>
              <a:cxnLst/>
              <a:rect l="l" t="t" r="r" b="b"/>
              <a:pathLst>
                <a:path w="2457" h="1935" extrusionOk="0">
                  <a:moveTo>
                    <a:pt x="1229" y="1"/>
                  </a:moveTo>
                  <a:lnTo>
                    <a:pt x="1" y="1934"/>
                  </a:lnTo>
                  <a:lnTo>
                    <a:pt x="2457" y="1934"/>
                  </a:lnTo>
                  <a:lnTo>
                    <a:pt x="12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4"/>
            <p:cNvSpPr/>
            <p:nvPr/>
          </p:nvSpPr>
          <p:spPr>
            <a:xfrm>
              <a:off x="1195275" y="2566950"/>
              <a:ext cx="61425" cy="48425"/>
            </a:xfrm>
            <a:custGeom>
              <a:avLst/>
              <a:gdLst/>
              <a:ahLst/>
              <a:cxnLst/>
              <a:rect l="l" t="t" r="r" b="b"/>
              <a:pathLst>
                <a:path w="2457" h="1937" extrusionOk="0">
                  <a:moveTo>
                    <a:pt x="1229" y="1"/>
                  </a:moveTo>
                  <a:lnTo>
                    <a:pt x="1" y="1936"/>
                  </a:lnTo>
                  <a:lnTo>
                    <a:pt x="2457" y="1936"/>
                  </a:lnTo>
                  <a:lnTo>
                    <a:pt x="12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 name="Google Shape;95;p4"/>
          <p:cNvGrpSpPr/>
          <p:nvPr/>
        </p:nvGrpSpPr>
        <p:grpSpPr>
          <a:xfrm>
            <a:off x="102541" y="6253409"/>
            <a:ext cx="491084" cy="512221"/>
            <a:chOff x="4706225" y="1356025"/>
            <a:chExt cx="384200" cy="384175"/>
          </a:xfrm>
        </p:grpSpPr>
        <p:sp>
          <p:nvSpPr>
            <p:cNvPr id="96" name="Google Shape;96;p4"/>
            <p:cNvSpPr/>
            <p:nvPr/>
          </p:nvSpPr>
          <p:spPr>
            <a:xfrm>
              <a:off x="4706225" y="1356025"/>
              <a:ext cx="384200" cy="384175"/>
            </a:xfrm>
            <a:custGeom>
              <a:avLst/>
              <a:gdLst/>
              <a:ahLst/>
              <a:cxnLst/>
              <a:rect l="l" t="t" r="r" b="b"/>
              <a:pathLst>
                <a:path w="15368" h="15367" extrusionOk="0">
                  <a:moveTo>
                    <a:pt x="7685" y="582"/>
                  </a:moveTo>
                  <a:cubicBezTo>
                    <a:pt x="11600" y="582"/>
                    <a:pt x="14785" y="3768"/>
                    <a:pt x="14785" y="7683"/>
                  </a:cubicBezTo>
                  <a:cubicBezTo>
                    <a:pt x="14788" y="11599"/>
                    <a:pt x="11600" y="14785"/>
                    <a:pt x="7685" y="14785"/>
                  </a:cubicBezTo>
                  <a:cubicBezTo>
                    <a:pt x="3769" y="14785"/>
                    <a:pt x="583" y="11599"/>
                    <a:pt x="583" y="7683"/>
                  </a:cubicBezTo>
                  <a:cubicBezTo>
                    <a:pt x="583" y="3768"/>
                    <a:pt x="3769" y="582"/>
                    <a:pt x="7685" y="582"/>
                  </a:cubicBezTo>
                  <a:close/>
                  <a:moveTo>
                    <a:pt x="7685" y="1"/>
                  </a:moveTo>
                  <a:cubicBezTo>
                    <a:pt x="3449" y="1"/>
                    <a:pt x="0" y="3447"/>
                    <a:pt x="0" y="7683"/>
                  </a:cubicBezTo>
                  <a:cubicBezTo>
                    <a:pt x="0" y="11919"/>
                    <a:pt x="3449" y="15366"/>
                    <a:pt x="7685" y="15366"/>
                  </a:cubicBezTo>
                  <a:cubicBezTo>
                    <a:pt x="11921" y="15366"/>
                    <a:pt x="15368" y="11919"/>
                    <a:pt x="15368" y="7683"/>
                  </a:cubicBezTo>
                  <a:cubicBezTo>
                    <a:pt x="15368" y="3446"/>
                    <a:pt x="11921" y="1"/>
                    <a:pt x="768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97;p4"/>
            <p:cNvSpPr/>
            <p:nvPr/>
          </p:nvSpPr>
          <p:spPr>
            <a:xfrm>
              <a:off x="4810500" y="1460250"/>
              <a:ext cx="175700" cy="175725"/>
            </a:xfrm>
            <a:custGeom>
              <a:avLst/>
              <a:gdLst/>
              <a:ahLst/>
              <a:cxnLst/>
              <a:rect l="l" t="t" r="r" b="b"/>
              <a:pathLst>
                <a:path w="7028" h="7029" extrusionOk="0">
                  <a:moveTo>
                    <a:pt x="3514" y="584"/>
                  </a:moveTo>
                  <a:cubicBezTo>
                    <a:pt x="5130" y="584"/>
                    <a:pt x="6444" y="1898"/>
                    <a:pt x="6444" y="3514"/>
                  </a:cubicBezTo>
                  <a:cubicBezTo>
                    <a:pt x="6444" y="5131"/>
                    <a:pt x="5130" y="6445"/>
                    <a:pt x="3514" y="6445"/>
                  </a:cubicBezTo>
                  <a:cubicBezTo>
                    <a:pt x="1897" y="6445"/>
                    <a:pt x="583" y="5131"/>
                    <a:pt x="583" y="3514"/>
                  </a:cubicBezTo>
                  <a:cubicBezTo>
                    <a:pt x="583" y="1898"/>
                    <a:pt x="1897" y="584"/>
                    <a:pt x="3514" y="584"/>
                  </a:cubicBezTo>
                  <a:close/>
                  <a:moveTo>
                    <a:pt x="3514" y="1"/>
                  </a:moveTo>
                  <a:cubicBezTo>
                    <a:pt x="1577" y="1"/>
                    <a:pt x="0" y="1578"/>
                    <a:pt x="0" y="3514"/>
                  </a:cubicBezTo>
                  <a:cubicBezTo>
                    <a:pt x="0" y="5451"/>
                    <a:pt x="1577" y="7028"/>
                    <a:pt x="3514" y="7028"/>
                  </a:cubicBezTo>
                  <a:cubicBezTo>
                    <a:pt x="5450" y="7028"/>
                    <a:pt x="7027" y="5451"/>
                    <a:pt x="7027" y="3514"/>
                  </a:cubicBezTo>
                  <a:cubicBezTo>
                    <a:pt x="7027" y="1576"/>
                    <a:pt x="5450" y="1"/>
                    <a:pt x="351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8" name="Google Shape;98;p4"/>
          <p:cNvSpPr/>
          <p:nvPr/>
        </p:nvSpPr>
        <p:spPr>
          <a:xfrm>
            <a:off x="8033975" y="393125"/>
            <a:ext cx="609637" cy="596012"/>
          </a:xfrm>
          <a:custGeom>
            <a:avLst/>
            <a:gdLst/>
            <a:ahLst/>
            <a:cxnLst/>
            <a:rect l="l" t="t" r="r" b="b"/>
            <a:pathLst>
              <a:path w="26759" h="26757" extrusionOk="0">
                <a:moveTo>
                  <a:pt x="8726" y="984"/>
                </a:moveTo>
                <a:lnTo>
                  <a:pt x="8726" y="2575"/>
                </a:lnTo>
                <a:lnTo>
                  <a:pt x="576" y="10726"/>
                </a:lnTo>
                <a:lnTo>
                  <a:pt x="576" y="9136"/>
                </a:lnTo>
                <a:lnTo>
                  <a:pt x="8726" y="984"/>
                </a:lnTo>
                <a:close/>
                <a:moveTo>
                  <a:pt x="8726" y="2775"/>
                </a:moveTo>
                <a:lnTo>
                  <a:pt x="8726" y="4768"/>
                </a:lnTo>
                <a:lnTo>
                  <a:pt x="576" y="12918"/>
                </a:lnTo>
                <a:lnTo>
                  <a:pt x="576" y="10927"/>
                </a:lnTo>
                <a:lnTo>
                  <a:pt x="8726" y="2775"/>
                </a:lnTo>
                <a:close/>
                <a:moveTo>
                  <a:pt x="8723" y="4973"/>
                </a:moveTo>
                <a:lnTo>
                  <a:pt x="8723" y="6962"/>
                </a:lnTo>
                <a:lnTo>
                  <a:pt x="572" y="15113"/>
                </a:lnTo>
                <a:lnTo>
                  <a:pt x="572" y="13123"/>
                </a:lnTo>
                <a:lnTo>
                  <a:pt x="8723" y="4973"/>
                </a:lnTo>
                <a:close/>
                <a:moveTo>
                  <a:pt x="8723" y="7166"/>
                </a:moveTo>
                <a:lnTo>
                  <a:pt x="8723" y="9155"/>
                </a:lnTo>
                <a:lnTo>
                  <a:pt x="572" y="17307"/>
                </a:lnTo>
                <a:lnTo>
                  <a:pt x="572" y="15316"/>
                </a:lnTo>
                <a:lnTo>
                  <a:pt x="8723" y="7166"/>
                </a:lnTo>
                <a:close/>
                <a:moveTo>
                  <a:pt x="26180" y="577"/>
                </a:moveTo>
                <a:lnTo>
                  <a:pt x="26180" y="17456"/>
                </a:lnTo>
                <a:lnTo>
                  <a:pt x="9300" y="17456"/>
                </a:lnTo>
                <a:lnTo>
                  <a:pt x="9300" y="577"/>
                </a:lnTo>
                <a:close/>
                <a:moveTo>
                  <a:pt x="8723" y="9357"/>
                </a:moveTo>
                <a:lnTo>
                  <a:pt x="8723" y="11347"/>
                </a:lnTo>
                <a:lnTo>
                  <a:pt x="572" y="19499"/>
                </a:lnTo>
                <a:lnTo>
                  <a:pt x="572" y="17509"/>
                </a:lnTo>
                <a:lnTo>
                  <a:pt x="8723" y="9357"/>
                </a:lnTo>
                <a:close/>
                <a:moveTo>
                  <a:pt x="8723" y="11552"/>
                </a:moveTo>
                <a:lnTo>
                  <a:pt x="8723" y="13542"/>
                </a:lnTo>
                <a:lnTo>
                  <a:pt x="572" y="21694"/>
                </a:lnTo>
                <a:lnTo>
                  <a:pt x="572" y="19704"/>
                </a:lnTo>
                <a:lnTo>
                  <a:pt x="8723" y="11552"/>
                </a:lnTo>
                <a:close/>
                <a:moveTo>
                  <a:pt x="8723" y="13745"/>
                </a:moveTo>
                <a:lnTo>
                  <a:pt x="8723" y="15735"/>
                </a:lnTo>
                <a:lnTo>
                  <a:pt x="572" y="23887"/>
                </a:lnTo>
                <a:lnTo>
                  <a:pt x="572" y="21897"/>
                </a:lnTo>
                <a:lnTo>
                  <a:pt x="8723" y="13745"/>
                </a:lnTo>
                <a:close/>
                <a:moveTo>
                  <a:pt x="8723" y="15938"/>
                </a:moveTo>
                <a:lnTo>
                  <a:pt x="8723" y="17623"/>
                </a:lnTo>
                <a:lnTo>
                  <a:pt x="572" y="25773"/>
                </a:lnTo>
                <a:lnTo>
                  <a:pt x="572" y="24090"/>
                </a:lnTo>
                <a:lnTo>
                  <a:pt x="8723" y="15938"/>
                </a:lnTo>
                <a:close/>
                <a:moveTo>
                  <a:pt x="10810" y="18033"/>
                </a:moveTo>
                <a:lnTo>
                  <a:pt x="2659" y="26183"/>
                </a:lnTo>
                <a:lnTo>
                  <a:pt x="981" y="26183"/>
                </a:lnTo>
                <a:lnTo>
                  <a:pt x="9131" y="18033"/>
                </a:lnTo>
                <a:close/>
                <a:moveTo>
                  <a:pt x="12997" y="18033"/>
                </a:moveTo>
                <a:lnTo>
                  <a:pt x="4845" y="26183"/>
                </a:lnTo>
                <a:lnTo>
                  <a:pt x="2863" y="26183"/>
                </a:lnTo>
                <a:lnTo>
                  <a:pt x="11013" y="18033"/>
                </a:lnTo>
                <a:close/>
                <a:moveTo>
                  <a:pt x="15187" y="18033"/>
                </a:moveTo>
                <a:lnTo>
                  <a:pt x="7037" y="26183"/>
                </a:lnTo>
                <a:lnTo>
                  <a:pt x="5050" y="26183"/>
                </a:lnTo>
                <a:lnTo>
                  <a:pt x="13203" y="18033"/>
                </a:lnTo>
                <a:close/>
                <a:moveTo>
                  <a:pt x="17374" y="18033"/>
                </a:moveTo>
                <a:lnTo>
                  <a:pt x="9222" y="26183"/>
                </a:lnTo>
                <a:lnTo>
                  <a:pt x="7240" y="26183"/>
                </a:lnTo>
                <a:lnTo>
                  <a:pt x="15390" y="18033"/>
                </a:lnTo>
                <a:close/>
                <a:moveTo>
                  <a:pt x="19561" y="18033"/>
                </a:moveTo>
                <a:lnTo>
                  <a:pt x="11411" y="26183"/>
                </a:lnTo>
                <a:lnTo>
                  <a:pt x="9427" y="26183"/>
                </a:lnTo>
                <a:lnTo>
                  <a:pt x="17577" y="18033"/>
                </a:lnTo>
                <a:close/>
                <a:moveTo>
                  <a:pt x="21750" y="18033"/>
                </a:moveTo>
                <a:lnTo>
                  <a:pt x="13599" y="26183"/>
                </a:lnTo>
                <a:lnTo>
                  <a:pt x="11614" y="26183"/>
                </a:lnTo>
                <a:lnTo>
                  <a:pt x="19764" y="18033"/>
                </a:lnTo>
                <a:close/>
                <a:moveTo>
                  <a:pt x="23938" y="18033"/>
                </a:moveTo>
                <a:lnTo>
                  <a:pt x="15788" y="26183"/>
                </a:lnTo>
                <a:lnTo>
                  <a:pt x="13804" y="26183"/>
                </a:lnTo>
                <a:lnTo>
                  <a:pt x="21955" y="18033"/>
                </a:lnTo>
                <a:close/>
                <a:moveTo>
                  <a:pt x="25772" y="18033"/>
                </a:moveTo>
                <a:lnTo>
                  <a:pt x="17621" y="26183"/>
                </a:lnTo>
                <a:lnTo>
                  <a:pt x="15991" y="26183"/>
                </a:lnTo>
                <a:lnTo>
                  <a:pt x="24142" y="18033"/>
                </a:lnTo>
                <a:close/>
                <a:moveTo>
                  <a:pt x="9014" y="0"/>
                </a:moveTo>
                <a:cubicBezTo>
                  <a:pt x="8976" y="0"/>
                  <a:pt x="8940" y="8"/>
                  <a:pt x="8903" y="23"/>
                </a:cubicBezTo>
                <a:cubicBezTo>
                  <a:pt x="8867" y="38"/>
                  <a:pt x="8837" y="58"/>
                  <a:pt x="8811" y="85"/>
                </a:cubicBezTo>
                <a:lnTo>
                  <a:pt x="84" y="8812"/>
                </a:lnTo>
                <a:cubicBezTo>
                  <a:pt x="31" y="8866"/>
                  <a:pt x="0" y="8938"/>
                  <a:pt x="0" y="9014"/>
                </a:cubicBezTo>
                <a:lnTo>
                  <a:pt x="0" y="26468"/>
                </a:lnTo>
                <a:cubicBezTo>
                  <a:pt x="0" y="26506"/>
                  <a:pt x="8" y="26543"/>
                  <a:pt x="23" y="26579"/>
                </a:cubicBezTo>
                <a:cubicBezTo>
                  <a:pt x="52" y="26649"/>
                  <a:pt x="108" y="26707"/>
                  <a:pt x="178" y="26734"/>
                </a:cubicBezTo>
                <a:cubicBezTo>
                  <a:pt x="214" y="26751"/>
                  <a:pt x="251" y="26757"/>
                  <a:pt x="289" y="26757"/>
                </a:cubicBezTo>
                <a:lnTo>
                  <a:pt x="17743" y="26757"/>
                </a:lnTo>
                <a:cubicBezTo>
                  <a:pt x="17819" y="26757"/>
                  <a:pt x="17893" y="26726"/>
                  <a:pt x="17946" y="26673"/>
                </a:cubicBezTo>
                <a:lnTo>
                  <a:pt x="26673" y="17946"/>
                </a:lnTo>
                <a:cubicBezTo>
                  <a:pt x="26699" y="17920"/>
                  <a:pt x="26720" y="17889"/>
                  <a:pt x="26735" y="17854"/>
                </a:cubicBezTo>
                <a:cubicBezTo>
                  <a:pt x="26751" y="17817"/>
                  <a:pt x="26758" y="17782"/>
                  <a:pt x="26758" y="17744"/>
                </a:cubicBezTo>
                <a:lnTo>
                  <a:pt x="26758" y="289"/>
                </a:lnTo>
                <a:lnTo>
                  <a:pt x="26757" y="289"/>
                </a:lnTo>
                <a:cubicBezTo>
                  <a:pt x="26757" y="129"/>
                  <a:pt x="26626" y="0"/>
                  <a:pt x="26468"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99" name="Google Shape;99;p4"/>
          <p:cNvCxnSpPr/>
          <p:nvPr/>
        </p:nvCxnSpPr>
        <p:spPr>
          <a:xfrm>
            <a:off x="8516600" y="6520375"/>
            <a:ext cx="306000" cy="0"/>
          </a:xfrm>
          <a:prstGeom prst="straightConnector1">
            <a:avLst/>
          </a:prstGeom>
          <a:noFill/>
          <a:ln w="9525" cap="flat" cmpd="sng">
            <a:solidFill>
              <a:schemeClr val="dk2"/>
            </a:solidFill>
            <a:prstDash val="solid"/>
            <a:round/>
            <a:headEnd type="none" w="med" len="med"/>
            <a:tailEnd type="stealth" w="med" len="med"/>
          </a:ln>
        </p:spPr>
      </p:cxnSp>
      <p:cxnSp>
        <p:nvCxnSpPr>
          <p:cNvPr id="100" name="Google Shape;100;p4"/>
          <p:cNvCxnSpPr/>
          <p:nvPr/>
        </p:nvCxnSpPr>
        <p:spPr>
          <a:xfrm rot="10800000">
            <a:off x="8025400" y="6520375"/>
            <a:ext cx="306000" cy="0"/>
          </a:xfrm>
          <a:prstGeom prst="straightConnector1">
            <a:avLst/>
          </a:prstGeom>
          <a:noFill/>
          <a:ln w="9525" cap="flat" cmpd="sng">
            <a:solidFill>
              <a:schemeClr val="dk2"/>
            </a:solidFill>
            <a:prstDash val="solid"/>
            <a:round/>
            <a:headEnd type="none" w="med" len="med"/>
            <a:tailEnd type="stealth" w="med" len="med"/>
          </a:ln>
        </p:spPr>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294"/>
        <p:cNvGrpSpPr/>
        <p:nvPr/>
      </p:nvGrpSpPr>
      <p:grpSpPr>
        <a:xfrm>
          <a:off x="0" y="0"/>
          <a:ext cx="0" cy="0"/>
          <a:chOff x="0" y="0"/>
          <a:chExt cx="0" cy="0"/>
        </a:xfrm>
      </p:grpSpPr>
      <p:sp>
        <p:nvSpPr>
          <p:cNvPr id="295" name="Google Shape;295;p9"/>
          <p:cNvSpPr txBox="1">
            <a:spLocks noGrp="1"/>
          </p:cNvSpPr>
          <p:nvPr>
            <p:ph type="subTitle" idx="1"/>
          </p:nvPr>
        </p:nvSpPr>
        <p:spPr>
          <a:xfrm>
            <a:off x="2391925" y="4905965"/>
            <a:ext cx="4360200" cy="6243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a:lvl1pPr>
            <a:lvl2pPr lvl="1" algn="ctr" rtl="0">
              <a:lnSpc>
                <a:spcPct val="100000"/>
              </a:lnSpc>
              <a:spcBef>
                <a:spcPts val="160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cxnSp>
        <p:nvCxnSpPr>
          <p:cNvPr id="296" name="Google Shape;296;p9"/>
          <p:cNvCxnSpPr/>
          <p:nvPr/>
        </p:nvCxnSpPr>
        <p:spPr>
          <a:xfrm>
            <a:off x="8516600" y="6520375"/>
            <a:ext cx="306000" cy="0"/>
          </a:xfrm>
          <a:prstGeom prst="straightConnector1">
            <a:avLst/>
          </a:prstGeom>
          <a:noFill/>
          <a:ln w="9525" cap="flat" cmpd="sng">
            <a:solidFill>
              <a:schemeClr val="dk2"/>
            </a:solidFill>
            <a:prstDash val="solid"/>
            <a:round/>
            <a:headEnd type="none" w="med" len="med"/>
            <a:tailEnd type="stealth" w="med" len="med"/>
          </a:ln>
        </p:spPr>
      </p:cxnSp>
      <p:cxnSp>
        <p:nvCxnSpPr>
          <p:cNvPr id="297" name="Google Shape;297;p9"/>
          <p:cNvCxnSpPr/>
          <p:nvPr/>
        </p:nvCxnSpPr>
        <p:spPr>
          <a:xfrm rot="10800000">
            <a:off x="8025400" y="6520375"/>
            <a:ext cx="306000" cy="0"/>
          </a:xfrm>
          <a:prstGeom prst="straightConnector1">
            <a:avLst/>
          </a:prstGeom>
          <a:noFill/>
          <a:ln w="9525" cap="flat" cmpd="sng">
            <a:solidFill>
              <a:schemeClr val="dk2"/>
            </a:solidFill>
            <a:prstDash val="solid"/>
            <a:round/>
            <a:headEnd type="none" w="med" len="med"/>
            <a:tailEnd type="stealth" w="med" len="med"/>
          </a:ln>
        </p:spPr>
      </p:cxnSp>
      <p:sp>
        <p:nvSpPr>
          <p:cNvPr id="298" name="Google Shape;298;p9"/>
          <p:cNvSpPr txBox="1">
            <a:spLocks noGrp="1"/>
          </p:cNvSpPr>
          <p:nvPr>
            <p:ph type="title"/>
          </p:nvPr>
        </p:nvSpPr>
        <p:spPr>
          <a:xfrm>
            <a:off x="2391900" y="2321174"/>
            <a:ext cx="4360200" cy="25848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600"/>
              <a:buNone/>
              <a:defRPr sz="52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299" name="Google Shape;299;p9"/>
          <p:cNvSpPr txBox="1">
            <a:spLocks noGrp="1"/>
          </p:cNvSpPr>
          <p:nvPr>
            <p:ph type="subTitle" idx="2"/>
          </p:nvPr>
        </p:nvSpPr>
        <p:spPr>
          <a:xfrm>
            <a:off x="882350" y="720000"/>
            <a:ext cx="1106700" cy="462000"/>
          </a:xfrm>
          <a:prstGeom prst="rect">
            <a:avLst/>
          </a:prstGeom>
          <a:ln>
            <a:noFill/>
          </a:ln>
        </p:spPr>
        <p:txBody>
          <a:bodyPr spcFirstLastPara="1" wrap="square" lIns="91425" tIns="91425" rIns="91425" bIns="91425" anchor="ctr" anchorCtr="0">
            <a:noAutofit/>
          </a:bodyPr>
          <a:lstStyle>
            <a:lvl1pPr lvl="0" algn="ctr" rtl="0">
              <a:lnSpc>
                <a:spcPct val="100000"/>
              </a:lnSpc>
              <a:spcBef>
                <a:spcPts val="0"/>
              </a:spcBef>
              <a:spcAft>
                <a:spcPts val="0"/>
              </a:spcAft>
              <a:buClr>
                <a:schemeClr val="dk2"/>
              </a:buClr>
              <a:buSzPts val="1100"/>
              <a:buNone/>
              <a:defRPr sz="950">
                <a:latin typeface="Nunito"/>
                <a:ea typeface="Nunito"/>
                <a:cs typeface="Nunito"/>
                <a:sym typeface="Nunito"/>
              </a:defRPr>
            </a:lvl1pPr>
            <a:lvl2pPr lvl="1" algn="ctr" rtl="0">
              <a:lnSpc>
                <a:spcPct val="100000"/>
              </a:lnSpc>
              <a:spcBef>
                <a:spcPts val="0"/>
              </a:spcBef>
              <a:spcAft>
                <a:spcPts val="0"/>
              </a:spcAft>
              <a:buClr>
                <a:schemeClr val="dk2"/>
              </a:buClr>
              <a:buSzPts val="1100"/>
              <a:buNone/>
              <a:defRPr sz="1100" b="1">
                <a:solidFill>
                  <a:schemeClr val="dk2"/>
                </a:solidFill>
              </a:defRPr>
            </a:lvl2pPr>
            <a:lvl3pPr lvl="2" algn="ctr" rtl="0">
              <a:lnSpc>
                <a:spcPct val="100000"/>
              </a:lnSpc>
              <a:spcBef>
                <a:spcPts val="0"/>
              </a:spcBef>
              <a:spcAft>
                <a:spcPts val="0"/>
              </a:spcAft>
              <a:buClr>
                <a:schemeClr val="dk2"/>
              </a:buClr>
              <a:buSzPts val="1100"/>
              <a:buNone/>
              <a:defRPr sz="1100" b="1">
                <a:solidFill>
                  <a:schemeClr val="dk2"/>
                </a:solidFill>
              </a:defRPr>
            </a:lvl3pPr>
            <a:lvl4pPr lvl="3" algn="ctr" rtl="0">
              <a:lnSpc>
                <a:spcPct val="100000"/>
              </a:lnSpc>
              <a:spcBef>
                <a:spcPts val="0"/>
              </a:spcBef>
              <a:spcAft>
                <a:spcPts val="0"/>
              </a:spcAft>
              <a:buClr>
                <a:schemeClr val="dk2"/>
              </a:buClr>
              <a:buSzPts val="1100"/>
              <a:buNone/>
              <a:defRPr sz="1100" b="1">
                <a:solidFill>
                  <a:schemeClr val="dk2"/>
                </a:solidFill>
              </a:defRPr>
            </a:lvl4pPr>
            <a:lvl5pPr lvl="4" algn="ctr" rtl="0">
              <a:lnSpc>
                <a:spcPct val="100000"/>
              </a:lnSpc>
              <a:spcBef>
                <a:spcPts val="0"/>
              </a:spcBef>
              <a:spcAft>
                <a:spcPts val="0"/>
              </a:spcAft>
              <a:buClr>
                <a:schemeClr val="dk2"/>
              </a:buClr>
              <a:buSzPts val="1100"/>
              <a:buNone/>
              <a:defRPr sz="1100" b="1">
                <a:solidFill>
                  <a:schemeClr val="dk2"/>
                </a:solidFill>
              </a:defRPr>
            </a:lvl5pPr>
            <a:lvl6pPr lvl="5" algn="ctr" rtl="0">
              <a:lnSpc>
                <a:spcPct val="100000"/>
              </a:lnSpc>
              <a:spcBef>
                <a:spcPts val="0"/>
              </a:spcBef>
              <a:spcAft>
                <a:spcPts val="0"/>
              </a:spcAft>
              <a:buClr>
                <a:schemeClr val="dk2"/>
              </a:buClr>
              <a:buSzPts val="1100"/>
              <a:buNone/>
              <a:defRPr sz="1100" b="1">
                <a:solidFill>
                  <a:schemeClr val="dk2"/>
                </a:solidFill>
              </a:defRPr>
            </a:lvl6pPr>
            <a:lvl7pPr lvl="6" algn="ctr" rtl="0">
              <a:lnSpc>
                <a:spcPct val="100000"/>
              </a:lnSpc>
              <a:spcBef>
                <a:spcPts val="0"/>
              </a:spcBef>
              <a:spcAft>
                <a:spcPts val="0"/>
              </a:spcAft>
              <a:buClr>
                <a:schemeClr val="dk2"/>
              </a:buClr>
              <a:buSzPts val="1100"/>
              <a:buNone/>
              <a:defRPr sz="1100" b="1">
                <a:solidFill>
                  <a:schemeClr val="dk2"/>
                </a:solidFill>
              </a:defRPr>
            </a:lvl7pPr>
            <a:lvl8pPr lvl="7" algn="ctr" rtl="0">
              <a:lnSpc>
                <a:spcPct val="100000"/>
              </a:lnSpc>
              <a:spcBef>
                <a:spcPts val="0"/>
              </a:spcBef>
              <a:spcAft>
                <a:spcPts val="0"/>
              </a:spcAft>
              <a:buClr>
                <a:schemeClr val="dk2"/>
              </a:buClr>
              <a:buSzPts val="1100"/>
              <a:buNone/>
              <a:defRPr sz="1100" b="1">
                <a:solidFill>
                  <a:schemeClr val="dk2"/>
                </a:solidFill>
              </a:defRPr>
            </a:lvl8pPr>
            <a:lvl9pPr lvl="8" algn="ctr" rtl="0">
              <a:lnSpc>
                <a:spcPct val="100000"/>
              </a:lnSpc>
              <a:spcBef>
                <a:spcPts val="0"/>
              </a:spcBef>
              <a:spcAft>
                <a:spcPts val="0"/>
              </a:spcAft>
              <a:buClr>
                <a:schemeClr val="dk2"/>
              </a:buClr>
              <a:buSzPts val="1100"/>
              <a:buNone/>
              <a:defRPr sz="1100" b="1">
                <a:solidFill>
                  <a:schemeClr val="dk2"/>
                </a:solidFill>
              </a:defRPr>
            </a:lvl9pPr>
          </a:lstStyle>
          <a:p>
            <a:endParaRPr/>
          </a:p>
        </p:txBody>
      </p:sp>
      <p:sp>
        <p:nvSpPr>
          <p:cNvPr id="300" name="Google Shape;300;p9">
            <a:hlinkClick r:id="rId2" action="ppaction://hlinksldjump"/>
          </p:cNvPr>
          <p:cNvSpPr txBox="1">
            <a:spLocks noGrp="1"/>
          </p:cNvSpPr>
          <p:nvPr>
            <p:ph type="subTitle" idx="3"/>
          </p:nvPr>
        </p:nvSpPr>
        <p:spPr>
          <a:xfrm>
            <a:off x="2046700" y="720000"/>
            <a:ext cx="1106700" cy="462000"/>
          </a:xfrm>
          <a:prstGeom prst="rect">
            <a:avLst/>
          </a:prstGeom>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solidFill>
                  <a:schemeClr val="dk2"/>
                </a:solidFill>
                <a:latin typeface="Nunito Black"/>
                <a:ea typeface="Nunito Black"/>
                <a:cs typeface="Nunito Black"/>
                <a:sym typeface="Nunito Black"/>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
        <p:nvSpPr>
          <p:cNvPr id="301" name="Google Shape;301;p9"/>
          <p:cNvSpPr txBox="1">
            <a:spLocks noGrp="1"/>
          </p:cNvSpPr>
          <p:nvPr>
            <p:ph type="subTitle" idx="4"/>
          </p:nvPr>
        </p:nvSpPr>
        <p:spPr>
          <a:xfrm>
            <a:off x="3211050" y="720000"/>
            <a:ext cx="1106700" cy="462000"/>
          </a:xfrm>
          <a:prstGeom prst="rect">
            <a:avLst/>
          </a:prstGeom>
          <a:ln>
            <a:noFill/>
          </a:ln>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latin typeface="Nunito"/>
                <a:ea typeface="Nunito"/>
                <a:cs typeface="Nunito"/>
                <a:sym typeface="Nunito"/>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
        <p:nvSpPr>
          <p:cNvPr id="302" name="Google Shape;302;p9"/>
          <p:cNvSpPr txBox="1">
            <a:spLocks noGrp="1"/>
          </p:cNvSpPr>
          <p:nvPr>
            <p:ph type="subTitle" idx="5"/>
          </p:nvPr>
        </p:nvSpPr>
        <p:spPr>
          <a:xfrm>
            <a:off x="4375400" y="720000"/>
            <a:ext cx="1106700" cy="462000"/>
          </a:xfrm>
          <a:prstGeom prst="rect">
            <a:avLst/>
          </a:prstGeom>
          <a:ln>
            <a:noFill/>
          </a:ln>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grpSp>
        <p:nvGrpSpPr>
          <p:cNvPr id="303" name="Google Shape;303;p9"/>
          <p:cNvGrpSpPr/>
          <p:nvPr/>
        </p:nvGrpSpPr>
        <p:grpSpPr>
          <a:xfrm flipH="1">
            <a:off x="1" y="5782831"/>
            <a:ext cx="1704706" cy="1075164"/>
            <a:chOff x="5970851" y="4835481"/>
            <a:chExt cx="1704706" cy="1075164"/>
          </a:xfrm>
        </p:grpSpPr>
        <p:sp>
          <p:nvSpPr>
            <p:cNvPr id="304" name="Google Shape;304;p9"/>
            <p:cNvSpPr/>
            <p:nvPr/>
          </p:nvSpPr>
          <p:spPr>
            <a:xfrm>
              <a:off x="7310570" y="5725749"/>
              <a:ext cx="364987" cy="184895"/>
            </a:xfrm>
            <a:custGeom>
              <a:avLst/>
              <a:gdLst/>
              <a:ahLst/>
              <a:cxnLst/>
              <a:rect l="l" t="t" r="r" b="b"/>
              <a:pathLst>
                <a:path w="11239" h="5547" extrusionOk="0">
                  <a:moveTo>
                    <a:pt x="0" y="1"/>
                  </a:moveTo>
                  <a:lnTo>
                    <a:pt x="0" y="5547"/>
                  </a:lnTo>
                  <a:lnTo>
                    <a:pt x="11239" y="5547"/>
                  </a:lnTo>
                  <a:lnTo>
                    <a:pt x="1123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5" name="Google Shape;305;p9"/>
            <p:cNvSpPr/>
            <p:nvPr/>
          </p:nvSpPr>
          <p:spPr>
            <a:xfrm>
              <a:off x="6766278" y="5602049"/>
              <a:ext cx="20362" cy="20933"/>
            </a:xfrm>
            <a:custGeom>
              <a:avLst/>
              <a:gdLst/>
              <a:ahLst/>
              <a:cxnLst/>
              <a:rect l="l" t="t" r="r" b="b"/>
              <a:pathLst>
                <a:path w="627" h="628" extrusionOk="0">
                  <a:moveTo>
                    <a:pt x="314" y="1"/>
                  </a:moveTo>
                  <a:cubicBezTo>
                    <a:pt x="141" y="1"/>
                    <a:pt x="1" y="142"/>
                    <a:pt x="1" y="315"/>
                  </a:cubicBezTo>
                  <a:cubicBezTo>
                    <a:pt x="1" y="486"/>
                    <a:pt x="141" y="628"/>
                    <a:pt x="314" y="628"/>
                  </a:cubicBezTo>
                  <a:cubicBezTo>
                    <a:pt x="487" y="628"/>
                    <a:pt x="626" y="486"/>
                    <a:pt x="626" y="315"/>
                  </a:cubicBezTo>
                  <a:cubicBezTo>
                    <a:pt x="626" y="142"/>
                    <a:pt x="487" y="1"/>
                    <a:pt x="31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6" name="Google Shape;306;p9"/>
            <p:cNvSpPr/>
            <p:nvPr/>
          </p:nvSpPr>
          <p:spPr>
            <a:xfrm>
              <a:off x="6766278" y="5793716"/>
              <a:ext cx="20362" cy="20866"/>
            </a:xfrm>
            <a:custGeom>
              <a:avLst/>
              <a:gdLst/>
              <a:ahLst/>
              <a:cxnLst/>
              <a:rect l="l" t="t" r="r" b="b"/>
              <a:pathLst>
                <a:path w="627" h="626" extrusionOk="0">
                  <a:moveTo>
                    <a:pt x="314" y="0"/>
                  </a:moveTo>
                  <a:cubicBezTo>
                    <a:pt x="141" y="0"/>
                    <a:pt x="1" y="140"/>
                    <a:pt x="1" y="313"/>
                  </a:cubicBezTo>
                  <a:cubicBezTo>
                    <a:pt x="1" y="486"/>
                    <a:pt x="141" y="625"/>
                    <a:pt x="314" y="625"/>
                  </a:cubicBezTo>
                  <a:cubicBezTo>
                    <a:pt x="487" y="625"/>
                    <a:pt x="626" y="486"/>
                    <a:pt x="626" y="313"/>
                  </a:cubicBezTo>
                  <a:cubicBezTo>
                    <a:pt x="626" y="140"/>
                    <a:pt x="487" y="0"/>
                    <a:pt x="31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7" name="Google Shape;307;p9"/>
            <p:cNvSpPr/>
            <p:nvPr/>
          </p:nvSpPr>
          <p:spPr>
            <a:xfrm>
              <a:off x="6607179" y="5602049"/>
              <a:ext cx="20394" cy="20933"/>
            </a:xfrm>
            <a:custGeom>
              <a:avLst/>
              <a:gdLst/>
              <a:ahLst/>
              <a:cxnLst/>
              <a:rect l="l" t="t" r="r" b="b"/>
              <a:pathLst>
                <a:path w="628" h="628" extrusionOk="0">
                  <a:moveTo>
                    <a:pt x="315" y="1"/>
                  </a:moveTo>
                  <a:cubicBezTo>
                    <a:pt x="142" y="1"/>
                    <a:pt x="1" y="142"/>
                    <a:pt x="1" y="315"/>
                  </a:cubicBezTo>
                  <a:cubicBezTo>
                    <a:pt x="1" y="486"/>
                    <a:pt x="142" y="628"/>
                    <a:pt x="315" y="628"/>
                  </a:cubicBezTo>
                  <a:cubicBezTo>
                    <a:pt x="486" y="628"/>
                    <a:pt x="628" y="486"/>
                    <a:pt x="628" y="315"/>
                  </a:cubicBezTo>
                  <a:cubicBezTo>
                    <a:pt x="628" y="142"/>
                    <a:pt x="486" y="1"/>
                    <a:pt x="31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8" name="Google Shape;308;p9"/>
            <p:cNvSpPr/>
            <p:nvPr/>
          </p:nvSpPr>
          <p:spPr>
            <a:xfrm>
              <a:off x="6607179" y="5793716"/>
              <a:ext cx="20394" cy="20866"/>
            </a:xfrm>
            <a:custGeom>
              <a:avLst/>
              <a:gdLst/>
              <a:ahLst/>
              <a:cxnLst/>
              <a:rect l="l" t="t" r="r" b="b"/>
              <a:pathLst>
                <a:path w="628" h="626" extrusionOk="0">
                  <a:moveTo>
                    <a:pt x="315" y="0"/>
                  </a:moveTo>
                  <a:cubicBezTo>
                    <a:pt x="142" y="0"/>
                    <a:pt x="1" y="140"/>
                    <a:pt x="1" y="313"/>
                  </a:cubicBezTo>
                  <a:cubicBezTo>
                    <a:pt x="1" y="486"/>
                    <a:pt x="142" y="625"/>
                    <a:pt x="315" y="625"/>
                  </a:cubicBezTo>
                  <a:cubicBezTo>
                    <a:pt x="486" y="625"/>
                    <a:pt x="628" y="486"/>
                    <a:pt x="628" y="313"/>
                  </a:cubicBezTo>
                  <a:cubicBezTo>
                    <a:pt x="628" y="140"/>
                    <a:pt x="486" y="0"/>
                    <a:pt x="31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9" name="Google Shape;309;p9"/>
            <p:cNvSpPr/>
            <p:nvPr/>
          </p:nvSpPr>
          <p:spPr>
            <a:xfrm>
              <a:off x="6448113" y="5602049"/>
              <a:ext cx="20362" cy="20933"/>
            </a:xfrm>
            <a:custGeom>
              <a:avLst/>
              <a:gdLst/>
              <a:ahLst/>
              <a:cxnLst/>
              <a:rect l="l" t="t" r="r" b="b"/>
              <a:pathLst>
                <a:path w="627" h="628" extrusionOk="0">
                  <a:moveTo>
                    <a:pt x="314" y="1"/>
                  </a:moveTo>
                  <a:cubicBezTo>
                    <a:pt x="141" y="1"/>
                    <a:pt x="1" y="142"/>
                    <a:pt x="1" y="315"/>
                  </a:cubicBezTo>
                  <a:cubicBezTo>
                    <a:pt x="1" y="486"/>
                    <a:pt x="141" y="628"/>
                    <a:pt x="314" y="628"/>
                  </a:cubicBezTo>
                  <a:cubicBezTo>
                    <a:pt x="487" y="628"/>
                    <a:pt x="626" y="486"/>
                    <a:pt x="626" y="315"/>
                  </a:cubicBezTo>
                  <a:cubicBezTo>
                    <a:pt x="626" y="142"/>
                    <a:pt x="487" y="1"/>
                    <a:pt x="31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0" name="Google Shape;310;p9"/>
            <p:cNvSpPr/>
            <p:nvPr/>
          </p:nvSpPr>
          <p:spPr>
            <a:xfrm>
              <a:off x="6448113" y="5793716"/>
              <a:ext cx="20362" cy="20866"/>
            </a:xfrm>
            <a:custGeom>
              <a:avLst/>
              <a:gdLst/>
              <a:ahLst/>
              <a:cxnLst/>
              <a:rect l="l" t="t" r="r" b="b"/>
              <a:pathLst>
                <a:path w="627" h="626" extrusionOk="0">
                  <a:moveTo>
                    <a:pt x="314" y="0"/>
                  </a:moveTo>
                  <a:cubicBezTo>
                    <a:pt x="141" y="0"/>
                    <a:pt x="1" y="140"/>
                    <a:pt x="1" y="313"/>
                  </a:cubicBezTo>
                  <a:cubicBezTo>
                    <a:pt x="1" y="486"/>
                    <a:pt x="141" y="625"/>
                    <a:pt x="314" y="625"/>
                  </a:cubicBezTo>
                  <a:cubicBezTo>
                    <a:pt x="487" y="625"/>
                    <a:pt x="626" y="486"/>
                    <a:pt x="626" y="313"/>
                  </a:cubicBezTo>
                  <a:cubicBezTo>
                    <a:pt x="626" y="140"/>
                    <a:pt x="487" y="0"/>
                    <a:pt x="31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 name="Google Shape;311;p9"/>
            <p:cNvSpPr/>
            <p:nvPr/>
          </p:nvSpPr>
          <p:spPr>
            <a:xfrm>
              <a:off x="6289015" y="5602049"/>
              <a:ext cx="20394" cy="20933"/>
            </a:xfrm>
            <a:custGeom>
              <a:avLst/>
              <a:gdLst/>
              <a:ahLst/>
              <a:cxnLst/>
              <a:rect l="l" t="t" r="r" b="b"/>
              <a:pathLst>
                <a:path w="628" h="628" extrusionOk="0">
                  <a:moveTo>
                    <a:pt x="315" y="1"/>
                  </a:moveTo>
                  <a:cubicBezTo>
                    <a:pt x="142" y="1"/>
                    <a:pt x="1" y="142"/>
                    <a:pt x="1" y="315"/>
                  </a:cubicBezTo>
                  <a:cubicBezTo>
                    <a:pt x="1" y="486"/>
                    <a:pt x="142" y="628"/>
                    <a:pt x="315" y="628"/>
                  </a:cubicBezTo>
                  <a:cubicBezTo>
                    <a:pt x="486" y="628"/>
                    <a:pt x="627" y="486"/>
                    <a:pt x="627" y="315"/>
                  </a:cubicBezTo>
                  <a:cubicBezTo>
                    <a:pt x="627" y="142"/>
                    <a:pt x="486" y="1"/>
                    <a:pt x="31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2" name="Google Shape;312;p9"/>
            <p:cNvSpPr/>
            <p:nvPr/>
          </p:nvSpPr>
          <p:spPr>
            <a:xfrm>
              <a:off x="6289015" y="5793716"/>
              <a:ext cx="20394" cy="20866"/>
            </a:xfrm>
            <a:custGeom>
              <a:avLst/>
              <a:gdLst/>
              <a:ahLst/>
              <a:cxnLst/>
              <a:rect l="l" t="t" r="r" b="b"/>
              <a:pathLst>
                <a:path w="628" h="626" extrusionOk="0">
                  <a:moveTo>
                    <a:pt x="315" y="0"/>
                  </a:moveTo>
                  <a:cubicBezTo>
                    <a:pt x="142" y="0"/>
                    <a:pt x="1" y="140"/>
                    <a:pt x="1" y="313"/>
                  </a:cubicBezTo>
                  <a:cubicBezTo>
                    <a:pt x="1" y="486"/>
                    <a:pt x="142" y="625"/>
                    <a:pt x="315" y="625"/>
                  </a:cubicBezTo>
                  <a:cubicBezTo>
                    <a:pt x="486" y="625"/>
                    <a:pt x="627" y="486"/>
                    <a:pt x="627" y="313"/>
                  </a:cubicBezTo>
                  <a:cubicBezTo>
                    <a:pt x="627" y="140"/>
                    <a:pt x="486" y="0"/>
                    <a:pt x="31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3" name="Google Shape;313;p9"/>
            <p:cNvSpPr/>
            <p:nvPr/>
          </p:nvSpPr>
          <p:spPr>
            <a:xfrm>
              <a:off x="6129949" y="5602049"/>
              <a:ext cx="20362" cy="20933"/>
            </a:xfrm>
            <a:custGeom>
              <a:avLst/>
              <a:gdLst/>
              <a:ahLst/>
              <a:cxnLst/>
              <a:rect l="l" t="t" r="r" b="b"/>
              <a:pathLst>
                <a:path w="627" h="628" extrusionOk="0">
                  <a:moveTo>
                    <a:pt x="313" y="1"/>
                  </a:moveTo>
                  <a:cubicBezTo>
                    <a:pt x="139" y="1"/>
                    <a:pt x="1" y="142"/>
                    <a:pt x="1" y="315"/>
                  </a:cubicBezTo>
                  <a:cubicBezTo>
                    <a:pt x="1" y="486"/>
                    <a:pt x="140" y="628"/>
                    <a:pt x="313" y="628"/>
                  </a:cubicBezTo>
                  <a:cubicBezTo>
                    <a:pt x="487" y="628"/>
                    <a:pt x="626" y="486"/>
                    <a:pt x="626" y="315"/>
                  </a:cubicBezTo>
                  <a:cubicBezTo>
                    <a:pt x="626" y="142"/>
                    <a:pt x="487" y="1"/>
                    <a:pt x="31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 name="Google Shape;314;p9"/>
            <p:cNvSpPr/>
            <p:nvPr/>
          </p:nvSpPr>
          <p:spPr>
            <a:xfrm>
              <a:off x="6129949" y="5793716"/>
              <a:ext cx="20362" cy="20866"/>
            </a:xfrm>
            <a:custGeom>
              <a:avLst/>
              <a:gdLst/>
              <a:ahLst/>
              <a:cxnLst/>
              <a:rect l="l" t="t" r="r" b="b"/>
              <a:pathLst>
                <a:path w="627" h="626" extrusionOk="0">
                  <a:moveTo>
                    <a:pt x="313" y="0"/>
                  </a:moveTo>
                  <a:cubicBezTo>
                    <a:pt x="139" y="0"/>
                    <a:pt x="1" y="140"/>
                    <a:pt x="1" y="313"/>
                  </a:cubicBezTo>
                  <a:cubicBezTo>
                    <a:pt x="1" y="486"/>
                    <a:pt x="140" y="625"/>
                    <a:pt x="313" y="625"/>
                  </a:cubicBezTo>
                  <a:cubicBezTo>
                    <a:pt x="487" y="625"/>
                    <a:pt x="626" y="486"/>
                    <a:pt x="626" y="313"/>
                  </a:cubicBezTo>
                  <a:cubicBezTo>
                    <a:pt x="626" y="140"/>
                    <a:pt x="487" y="0"/>
                    <a:pt x="31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 name="Google Shape;315;p9"/>
            <p:cNvSpPr/>
            <p:nvPr/>
          </p:nvSpPr>
          <p:spPr>
            <a:xfrm>
              <a:off x="7561672" y="4835481"/>
              <a:ext cx="20394" cy="20899"/>
            </a:xfrm>
            <a:custGeom>
              <a:avLst/>
              <a:gdLst/>
              <a:ahLst/>
              <a:cxnLst/>
              <a:rect l="l" t="t" r="r" b="b"/>
              <a:pathLst>
                <a:path w="628" h="627" extrusionOk="0">
                  <a:moveTo>
                    <a:pt x="315" y="1"/>
                  </a:moveTo>
                  <a:cubicBezTo>
                    <a:pt x="142" y="1"/>
                    <a:pt x="1" y="141"/>
                    <a:pt x="1" y="314"/>
                  </a:cubicBezTo>
                  <a:cubicBezTo>
                    <a:pt x="1" y="487"/>
                    <a:pt x="142" y="626"/>
                    <a:pt x="315" y="626"/>
                  </a:cubicBezTo>
                  <a:cubicBezTo>
                    <a:pt x="487" y="626"/>
                    <a:pt x="628" y="487"/>
                    <a:pt x="628" y="314"/>
                  </a:cubicBezTo>
                  <a:cubicBezTo>
                    <a:pt x="628" y="141"/>
                    <a:pt x="487" y="1"/>
                    <a:pt x="31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 name="Google Shape;316;p9"/>
            <p:cNvSpPr/>
            <p:nvPr/>
          </p:nvSpPr>
          <p:spPr>
            <a:xfrm>
              <a:off x="7561672" y="5027182"/>
              <a:ext cx="20394" cy="20866"/>
            </a:xfrm>
            <a:custGeom>
              <a:avLst/>
              <a:gdLst/>
              <a:ahLst/>
              <a:cxnLst/>
              <a:rect l="l" t="t" r="r" b="b"/>
              <a:pathLst>
                <a:path w="628" h="626" extrusionOk="0">
                  <a:moveTo>
                    <a:pt x="315" y="1"/>
                  </a:moveTo>
                  <a:cubicBezTo>
                    <a:pt x="142" y="1"/>
                    <a:pt x="1" y="140"/>
                    <a:pt x="1" y="313"/>
                  </a:cubicBezTo>
                  <a:cubicBezTo>
                    <a:pt x="1" y="486"/>
                    <a:pt x="142" y="626"/>
                    <a:pt x="315" y="626"/>
                  </a:cubicBezTo>
                  <a:cubicBezTo>
                    <a:pt x="487" y="626"/>
                    <a:pt x="628" y="486"/>
                    <a:pt x="628" y="313"/>
                  </a:cubicBezTo>
                  <a:cubicBezTo>
                    <a:pt x="628" y="140"/>
                    <a:pt x="487" y="1"/>
                    <a:pt x="31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 name="Google Shape;317;p9"/>
            <p:cNvSpPr/>
            <p:nvPr/>
          </p:nvSpPr>
          <p:spPr>
            <a:xfrm>
              <a:off x="7561672" y="5218782"/>
              <a:ext cx="20394" cy="20933"/>
            </a:xfrm>
            <a:custGeom>
              <a:avLst/>
              <a:gdLst/>
              <a:ahLst/>
              <a:cxnLst/>
              <a:rect l="l" t="t" r="r" b="b"/>
              <a:pathLst>
                <a:path w="628" h="628" extrusionOk="0">
                  <a:moveTo>
                    <a:pt x="315" y="0"/>
                  </a:moveTo>
                  <a:cubicBezTo>
                    <a:pt x="142" y="0"/>
                    <a:pt x="1" y="142"/>
                    <a:pt x="1" y="313"/>
                  </a:cubicBezTo>
                  <a:cubicBezTo>
                    <a:pt x="1" y="486"/>
                    <a:pt x="142" y="627"/>
                    <a:pt x="315" y="627"/>
                  </a:cubicBezTo>
                  <a:cubicBezTo>
                    <a:pt x="487" y="627"/>
                    <a:pt x="628" y="486"/>
                    <a:pt x="628" y="313"/>
                  </a:cubicBezTo>
                  <a:cubicBezTo>
                    <a:pt x="628" y="142"/>
                    <a:pt x="487" y="0"/>
                    <a:pt x="31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 name="Google Shape;318;p9"/>
            <p:cNvSpPr/>
            <p:nvPr/>
          </p:nvSpPr>
          <p:spPr>
            <a:xfrm>
              <a:off x="7561672" y="5410482"/>
              <a:ext cx="20394" cy="20866"/>
            </a:xfrm>
            <a:custGeom>
              <a:avLst/>
              <a:gdLst/>
              <a:ahLst/>
              <a:cxnLst/>
              <a:rect l="l" t="t" r="r" b="b"/>
              <a:pathLst>
                <a:path w="628" h="626" extrusionOk="0">
                  <a:moveTo>
                    <a:pt x="315" y="0"/>
                  </a:moveTo>
                  <a:cubicBezTo>
                    <a:pt x="142" y="0"/>
                    <a:pt x="1" y="138"/>
                    <a:pt x="1" y="313"/>
                  </a:cubicBezTo>
                  <a:cubicBezTo>
                    <a:pt x="1" y="486"/>
                    <a:pt x="142" y="625"/>
                    <a:pt x="315" y="625"/>
                  </a:cubicBezTo>
                  <a:cubicBezTo>
                    <a:pt x="487" y="625"/>
                    <a:pt x="628" y="486"/>
                    <a:pt x="628" y="313"/>
                  </a:cubicBezTo>
                  <a:cubicBezTo>
                    <a:pt x="628" y="140"/>
                    <a:pt x="487" y="0"/>
                    <a:pt x="31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 name="Google Shape;319;p9"/>
            <p:cNvSpPr/>
            <p:nvPr/>
          </p:nvSpPr>
          <p:spPr>
            <a:xfrm>
              <a:off x="7561672" y="5602049"/>
              <a:ext cx="20394" cy="20933"/>
            </a:xfrm>
            <a:custGeom>
              <a:avLst/>
              <a:gdLst/>
              <a:ahLst/>
              <a:cxnLst/>
              <a:rect l="l" t="t" r="r" b="b"/>
              <a:pathLst>
                <a:path w="628" h="628" extrusionOk="0">
                  <a:moveTo>
                    <a:pt x="315" y="1"/>
                  </a:moveTo>
                  <a:cubicBezTo>
                    <a:pt x="142" y="1"/>
                    <a:pt x="1" y="142"/>
                    <a:pt x="1" y="315"/>
                  </a:cubicBezTo>
                  <a:cubicBezTo>
                    <a:pt x="1" y="486"/>
                    <a:pt x="142" y="628"/>
                    <a:pt x="315" y="628"/>
                  </a:cubicBezTo>
                  <a:cubicBezTo>
                    <a:pt x="487" y="628"/>
                    <a:pt x="628" y="486"/>
                    <a:pt x="628" y="315"/>
                  </a:cubicBezTo>
                  <a:cubicBezTo>
                    <a:pt x="628" y="142"/>
                    <a:pt x="487" y="1"/>
                    <a:pt x="31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 name="Google Shape;320;p9"/>
            <p:cNvSpPr/>
            <p:nvPr/>
          </p:nvSpPr>
          <p:spPr>
            <a:xfrm>
              <a:off x="7561672" y="5793716"/>
              <a:ext cx="20394" cy="20866"/>
            </a:xfrm>
            <a:custGeom>
              <a:avLst/>
              <a:gdLst/>
              <a:ahLst/>
              <a:cxnLst/>
              <a:rect l="l" t="t" r="r" b="b"/>
              <a:pathLst>
                <a:path w="628" h="626" extrusionOk="0">
                  <a:moveTo>
                    <a:pt x="315" y="0"/>
                  </a:moveTo>
                  <a:cubicBezTo>
                    <a:pt x="142" y="0"/>
                    <a:pt x="1" y="140"/>
                    <a:pt x="1" y="313"/>
                  </a:cubicBezTo>
                  <a:cubicBezTo>
                    <a:pt x="1" y="486"/>
                    <a:pt x="142" y="625"/>
                    <a:pt x="315" y="625"/>
                  </a:cubicBezTo>
                  <a:cubicBezTo>
                    <a:pt x="487" y="625"/>
                    <a:pt x="628" y="486"/>
                    <a:pt x="628" y="313"/>
                  </a:cubicBezTo>
                  <a:cubicBezTo>
                    <a:pt x="628" y="140"/>
                    <a:pt x="487" y="0"/>
                    <a:pt x="31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 name="Google Shape;321;p9"/>
            <p:cNvSpPr/>
            <p:nvPr/>
          </p:nvSpPr>
          <p:spPr>
            <a:xfrm>
              <a:off x="7402639" y="4835481"/>
              <a:ext cx="20329" cy="20899"/>
            </a:xfrm>
            <a:custGeom>
              <a:avLst/>
              <a:gdLst/>
              <a:ahLst/>
              <a:cxnLst/>
              <a:rect l="l" t="t" r="r" b="b"/>
              <a:pathLst>
                <a:path w="626" h="627" extrusionOk="0">
                  <a:moveTo>
                    <a:pt x="313" y="1"/>
                  </a:moveTo>
                  <a:cubicBezTo>
                    <a:pt x="140" y="1"/>
                    <a:pt x="0" y="141"/>
                    <a:pt x="0" y="314"/>
                  </a:cubicBezTo>
                  <a:cubicBezTo>
                    <a:pt x="0" y="487"/>
                    <a:pt x="140" y="626"/>
                    <a:pt x="313" y="626"/>
                  </a:cubicBezTo>
                  <a:cubicBezTo>
                    <a:pt x="486" y="626"/>
                    <a:pt x="625" y="487"/>
                    <a:pt x="625" y="314"/>
                  </a:cubicBezTo>
                  <a:cubicBezTo>
                    <a:pt x="625" y="141"/>
                    <a:pt x="486" y="1"/>
                    <a:pt x="31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 name="Google Shape;322;p9"/>
            <p:cNvSpPr/>
            <p:nvPr/>
          </p:nvSpPr>
          <p:spPr>
            <a:xfrm>
              <a:off x="7402639" y="5027182"/>
              <a:ext cx="20329" cy="20866"/>
            </a:xfrm>
            <a:custGeom>
              <a:avLst/>
              <a:gdLst/>
              <a:ahLst/>
              <a:cxnLst/>
              <a:rect l="l" t="t" r="r" b="b"/>
              <a:pathLst>
                <a:path w="626" h="626" extrusionOk="0">
                  <a:moveTo>
                    <a:pt x="313" y="1"/>
                  </a:moveTo>
                  <a:cubicBezTo>
                    <a:pt x="140" y="1"/>
                    <a:pt x="0" y="140"/>
                    <a:pt x="0" y="313"/>
                  </a:cubicBezTo>
                  <a:cubicBezTo>
                    <a:pt x="0" y="486"/>
                    <a:pt x="140" y="626"/>
                    <a:pt x="313" y="626"/>
                  </a:cubicBezTo>
                  <a:cubicBezTo>
                    <a:pt x="486" y="626"/>
                    <a:pt x="625" y="486"/>
                    <a:pt x="625" y="313"/>
                  </a:cubicBezTo>
                  <a:cubicBezTo>
                    <a:pt x="625" y="140"/>
                    <a:pt x="486" y="1"/>
                    <a:pt x="31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 name="Google Shape;323;p9"/>
            <p:cNvSpPr/>
            <p:nvPr/>
          </p:nvSpPr>
          <p:spPr>
            <a:xfrm>
              <a:off x="7402639" y="5218782"/>
              <a:ext cx="20329" cy="20933"/>
            </a:xfrm>
            <a:custGeom>
              <a:avLst/>
              <a:gdLst/>
              <a:ahLst/>
              <a:cxnLst/>
              <a:rect l="l" t="t" r="r" b="b"/>
              <a:pathLst>
                <a:path w="626" h="628" extrusionOk="0">
                  <a:moveTo>
                    <a:pt x="313" y="0"/>
                  </a:moveTo>
                  <a:cubicBezTo>
                    <a:pt x="140" y="0"/>
                    <a:pt x="0" y="140"/>
                    <a:pt x="0" y="313"/>
                  </a:cubicBezTo>
                  <a:cubicBezTo>
                    <a:pt x="0" y="486"/>
                    <a:pt x="140" y="627"/>
                    <a:pt x="313" y="627"/>
                  </a:cubicBezTo>
                  <a:cubicBezTo>
                    <a:pt x="486" y="627"/>
                    <a:pt x="625" y="486"/>
                    <a:pt x="625" y="313"/>
                  </a:cubicBezTo>
                  <a:cubicBezTo>
                    <a:pt x="625" y="140"/>
                    <a:pt x="486" y="0"/>
                    <a:pt x="31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 name="Google Shape;324;p9"/>
            <p:cNvSpPr/>
            <p:nvPr/>
          </p:nvSpPr>
          <p:spPr>
            <a:xfrm>
              <a:off x="7402639" y="5410482"/>
              <a:ext cx="20329" cy="20866"/>
            </a:xfrm>
            <a:custGeom>
              <a:avLst/>
              <a:gdLst/>
              <a:ahLst/>
              <a:cxnLst/>
              <a:rect l="l" t="t" r="r" b="b"/>
              <a:pathLst>
                <a:path w="626" h="626" extrusionOk="0">
                  <a:moveTo>
                    <a:pt x="313" y="0"/>
                  </a:moveTo>
                  <a:cubicBezTo>
                    <a:pt x="140" y="0"/>
                    <a:pt x="0" y="140"/>
                    <a:pt x="0" y="313"/>
                  </a:cubicBezTo>
                  <a:cubicBezTo>
                    <a:pt x="0" y="486"/>
                    <a:pt x="140" y="625"/>
                    <a:pt x="313" y="625"/>
                  </a:cubicBezTo>
                  <a:cubicBezTo>
                    <a:pt x="486" y="625"/>
                    <a:pt x="625" y="486"/>
                    <a:pt x="625" y="313"/>
                  </a:cubicBezTo>
                  <a:cubicBezTo>
                    <a:pt x="625" y="140"/>
                    <a:pt x="486" y="0"/>
                    <a:pt x="31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9"/>
            <p:cNvSpPr/>
            <p:nvPr/>
          </p:nvSpPr>
          <p:spPr>
            <a:xfrm>
              <a:off x="7402639" y="5602049"/>
              <a:ext cx="20329" cy="20933"/>
            </a:xfrm>
            <a:custGeom>
              <a:avLst/>
              <a:gdLst/>
              <a:ahLst/>
              <a:cxnLst/>
              <a:rect l="l" t="t" r="r" b="b"/>
              <a:pathLst>
                <a:path w="626" h="628" extrusionOk="0">
                  <a:moveTo>
                    <a:pt x="313" y="1"/>
                  </a:moveTo>
                  <a:cubicBezTo>
                    <a:pt x="140" y="1"/>
                    <a:pt x="0" y="142"/>
                    <a:pt x="0" y="315"/>
                  </a:cubicBezTo>
                  <a:cubicBezTo>
                    <a:pt x="0" y="486"/>
                    <a:pt x="140" y="628"/>
                    <a:pt x="313" y="628"/>
                  </a:cubicBezTo>
                  <a:cubicBezTo>
                    <a:pt x="486" y="628"/>
                    <a:pt x="625" y="486"/>
                    <a:pt x="625" y="315"/>
                  </a:cubicBezTo>
                  <a:cubicBezTo>
                    <a:pt x="625" y="142"/>
                    <a:pt x="486" y="1"/>
                    <a:pt x="31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326;p9"/>
            <p:cNvSpPr/>
            <p:nvPr/>
          </p:nvSpPr>
          <p:spPr>
            <a:xfrm>
              <a:off x="7402639" y="5793716"/>
              <a:ext cx="20329" cy="20866"/>
            </a:xfrm>
            <a:custGeom>
              <a:avLst/>
              <a:gdLst/>
              <a:ahLst/>
              <a:cxnLst/>
              <a:rect l="l" t="t" r="r" b="b"/>
              <a:pathLst>
                <a:path w="626" h="626" extrusionOk="0">
                  <a:moveTo>
                    <a:pt x="313" y="0"/>
                  </a:moveTo>
                  <a:cubicBezTo>
                    <a:pt x="140" y="0"/>
                    <a:pt x="0" y="140"/>
                    <a:pt x="0" y="313"/>
                  </a:cubicBezTo>
                  <a:cubicBezTo>
                    <a:pt x="0" y="486"/>
                    <a:pt x="140" y="625"/>
                    <a:pt x="313" y="625"/>
                  </a:cubicBezTo>
                  <a:cubicBezTo>
                    <a:pt x="486" y="625"/>
                    <a:pt x="625" y="486"/>
                    <a:pt x="625" y="313"/>
                  </a:cubicBezTo>
                  <a:cubicBezTo>
                    <a:pt x="625" y="140"/>
                    <a:pt x="486" y="0"/>
                    <a:pt x="31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9"/>
            <p:cNvSpPr/>
            <p:nvPr/>
          </p:nvSpPr>
          <p:spPr>
            <a:xfrm>
              <a:off x="7243508" y="4835481"/>
              <a:ext cx="20394" cy="20899"/>
            </a:xfrm>
            <a:custGeom>
              <a:avLst/>
              <a:gdLst/>
              <a:ahLst/>
              <a:cxnLst/>
              <a:rect l="l" t="t" r="r" b="b"/>
              <a:pathLst>
                <a:path w="628" h="627" extrusionOk="0">
                  <a:moveTo>
                    <a:pt x="315" y="1"/>
                  </a:moveTo>
                  <a:cubicBezTo>
                    <a:pt x="142" y="1"/>
                    <a:pt x="1" y="141"/>
                    <a:pt x="1" y="314"/>
                  </a:cubicBezTo>
                  <a:cubicBezTo>
                    <a:pt x="1" y="487"/>
                    <a:pt x="142" y="626"/>
                    <a:pt x="315" y="626"/>
                  </a:cubicBezTo>
                  <a:cubicBezTo>
                    <a:pt x="487" y="626"/>
                    <a:pt x="628" y="487"/>
                    <a:pt x="628" y="314"/>
                  </a:cubicBezTo>
                  <a:cubicBezTo>
                    <a:pt x="628" y="141"/>
                    <a:pt x="487" y="1"/>
                    <a:pt x="31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9"/>
            <p:cNvSpPr/>
            <p:nvPr/>
          </p:nvSpPr>
          <p:spPr>
            <a:xfrm>
              <a:off x="7243508" y="5027182"/>
              <a:ext cx="20394" cy="20866"/>
            </a:xfrm>
            <a:custGeom>
              <a:avLst/>
              <a:gdLst/>
              <a:ahLst/>
              <a:cxnLst/>
              <a:rect l="l" t="t" r="r" b="b"/>
              <a:pathLst>
                <a:path w="628" h="626" extrusionOk="0">
                  <a:moveTo>
                    <a:pt x="315" y="1"/>
                  </a:moveTo>
                  <a:cubicBezTo>
                    <a:pt x="142" y="1"/>
                    <a:pt x="1" y="140"/>
                    <a:pt x="1" y="313"/>
                  </a:cubicBezTo>
                  <a:cubicBezTo>
                    <a:pt x="1" y="486"/>
                    <a:pt x="142" y="626"/>
                    <a:pt x="315" y="626"/>
                  </a:cubicBezTo>
                  <a:cubicBezTo>
                    <a:pt x="487" y="626"/>
                    <a:pt x="628" y="486"/>
                    <a:pt x="628" y="313"/>
                  </a:cubicBezTo>
                  <a:cubicBezTo>
                    <a:pt x="628" y="140"/>
                    <a:pt x="487" y="1"/>
                    <a:pt x="31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9"/>
            <p:cNvSpPr/>
            <p:nvPr/>
          </p:nvSpPr>
          <p:spPr>
            <a:xfrm>
              <a:off x="7243508" y="5218782"/>
              <a:ext cx="20394" cy="20933"/>
            </a:xfrm>
            <a:custGeom>
              <a:avLst/>
              <a:gdLst/>
              <a:ahLst/>
              <a:cxnLst/>
              <a:rect l="l" t="t" r="r" b="b"/>
              <a:pathLst>
                <a:path w="628" h="628" extrusionOk="0">
                  <a:moveTo>
                    <a:pt x="315" y="0"/>
                  </a:moveTo>
                  <a:cubicBezTo>
                    <a:pt x="142" y="0"/>
                    <a:pt x="1" y="142"/>
                    <a:pt x="1" y="313"/>
                  </a:cubicBezTo>
                  <a:cubicBezTo>
                    <a:pt x="1" y="486"/>
                    <a:pt x="142" y="627"/>
                    <a:pt x="315" y="627"/>
                  </a:cubicBezTo>
                  <a:cubicBezTo>
                    <a:pt x="487" y="627"/>
                    <a:pt x="628" y="486"/>
                    <a:pt x="628" y="313"/>
                  </a:cubicBezTo>
                  <a:cubicBezTo>
                    <a:pt x="628" y="142"/>
                    <a:pt x="487" y="0"/>
                    <a:pt x="31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9"/>
            <p:cNvSpPr/>
            <p:nvPr/>
          </p:nvSpPr>
          <p:spPr>
            <a:xfrm>
              <a:off x="7243508" y="5410482"/>
              <a:ext cx="20394" cy="20866"/>
            </a:xfrm>
            <a:custGeom>
              <a:avLst/>
              <a:gdLst/>
              <a:ahLst/>
              <a:cxnLst/>
              <a:rect l="l" t="t" r="r" b="b"/>
              <a:pathLst>
                <a:path w="628" h="626" extrusionOk="0">
                  <a:moveTo>
                    <a:pt x="315" y="0"/>
                  </a:moveTo>
                  <a:cubicBezTo>
                    <a:pt x="142" y="0"/>
                    <a:pt x="1" y="138"/>
                    <a:pt x="1" y="313"/>
                  </a:cubicBezTo>
                  <a:cubicBezTo>
                    <a:pt x="1" y="486"/>
                    <a:pt x="142" y="625"/>
                    <a:pt x="315" y="625"/>
                  </a:cubicBezTo>
                  <a:cubicBezTo>
                    <a:pt x="487" y="625"/>
                    <a:pt x="628" y="486"/>
                    <a:pt x="628" y="313"/>
                  </a:cubicBezTo>
                  <a:cubicBezTo>
                    <a:pt x="628" y="140"/>
                    <a:pt x="487" y="0"/>
                    <a:pt x="31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9"/>
            <p:cNvSpPr/>
            <p:nvPr/>
          </p:nvSpPr>
          <p:spPr>
            <a:xfrm>
              <a:off x="7243508" y="5602049"/>
              <a:ext cx="20394" cy="20933"/>
            </a:xfrm>
            <a:custGeom>
              <a:avLst/>
              <a:gdLst/>
              <a:ahLst/>
              <a:cxnLst/>
              <a:rect l="l" t="t" r="r" b="b"/>
              <a:pathLst>
                <a:path w="628" h="628" extrusionOk="0">
                  <a:moveTo>
                    <a:pt x="315" y="1"/>
                  </a:moveTo>
                  <a:cubicBezTo>
                    <a:pt x="142" y="1"/>
                    <a:pt x="1" y="142"/>
                    <a:pt x="1" y="315"/>
                  </a:cubicBezTo>
                  <a:cubicBezTo>
                    <a:pt x="1" y="486"/>
                    <a:pt x="142" y="628"/>
                    <a:pt x="315" y="628"/>
                  </a:cubicBezTo>
                  <a:cubicBezTo>
                    <a:pt x="487" y="628"/>
                    <a:pt x="628" y="486"/>
                    <a:pt x="628" y="315"/>
                  </a:cubicBezTo>
                  <a:cubicBezTo>
                    <a:pt x="628" y="142"/>
                    <a:pt x="487" y="1"/>
                    <a:pt x="31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9"/>
            <p:cNvSpPr/>
            <p:nvPr/>
          </p:nvSpPr>
          <p:spPr>
            <a:xfrm>
              <a:off x="7243508" y="5793716"/>
              <a:ext cx="20394" cy="20866"/>
            </a:xfrm>
            <a:custGeom>
              <a:avLst/>
              <a:gdLst/>
              <a:ahLst/>
              <a:cxnLst/>
              <a:rect l="l" t="t" r="r" b="b"/>
              <a:pathLst>
                <a:path w="628" h="626" extrusionOk="0">
                  <a:moveTo>
                    <a:pt x="315" y="0"/>
                  </a:moveTo>
                  <a:cubicBezTo>
                    <a:pt x="142" y="0"/>
                    <a:pt x="1" y="140"/>
                    <a:pt x="1" y="313"/>
                  </a:cubicBezTo>
                  <a:cubicBezTo>
                    <a:pt x="1" y="486"/>
                    <a:pt x="142" y="625"/>
                    <a:pt x="315" y="625"/>
                  </a:cubicBezTo>
                  <a:cubicBezTo>
                    <a:pt x="487" y="625"/>
                    <a:pt x="628" y="486"/>
                    <a:pt x="628" y="313"/>
                  </a:cubicBezTo>
                  <a:cubicBezTo>
                    <a:pt x="628" y="140"/>
                    <a:pt x="487" y="0"/>
                    <a:pt x="31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 name="Google Shape;333;p9"/>
            <p:cNvSpPr/>
            <p:nvPr/>
          </p:nvSpPr>
          <p:spPr>
            <a:xfrm>
              <a:off x="7084475" y="5602049"/>
              <a:ext cx="20329" cy="20933"/>
            </a:xfrm>
            <a:custGeom>
              <a:avLst/>
              <a:gdLst/>
              <a:ahLst/>
              <a:cxnLst/>
              <a:rect l="l" t="t" r="r" b="b"/>
              <a:pathLst>
                <a:path w="626" h="628" extrusionOk="0">
                  <a:moveTo>
                    <a:pt x="313" y="1"/>
                  </a:moveTo>
                  <a:cubicBezTo>
                    <a:pt x="140" y="1"/>
                    <a:pt x="0" y="142"/>
                    <a:pt x="0" y="315"/>
                  </a:cubicBezTo>
                  <a:cubicBezTo>
                    <a:pt x="0" y="486"/>
                    <a:pt x="140" y="628"/>
                    <a:pt x="313" y="628"/>
                  </a:cubicBezTo>
                  <a:cubicBezTo>
                    <a:pt x="486" y="628"/>
                    <a:pt x="625" y="486"/>
                    <a:pt x="625" y="315"/>
                  </a:cubicBezTo>
                  <a:cubicBezTo>
                    <a:pt x="625" y="142"/>
                    <a:pt x="486" y="1"/>
                    <a:pt x="31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 name="Google Shape;334;p9"/>
            <p:cNvSpPr/>
            <p:nvPr/>
          </p:nvSpPr>
          <p:spPr>
            <a:xfrm>
              <a:off x="7084475" y="5793716"/>
              <a:ext cx="20329" cy="20866"/>
            </a:xfrm>
            <a:custGeom>
              <a:avLst/>
              <a:gdLst/>
              <a:ahLst/>
              <a:cxnLst/>
              <a:rect l="l" t="t" r="r" b="b"/>
              <a:pathLst>
                <a:path w="626" h="626" extrusionOk="0">
                  <a:moveTo>
                    <a:pt x="313" y="0"/>
                  </a:moveTo>
                  <a:cubicBezTo>
                    <a:pt x="140" y="0"/>
                    <a:pt x="0" y="140"/>
                    <a:pt x="0" y="313"/>
                  </a:cubicBezTo>
                  <a:cubicBezTo>
                    <a:pt x="0" y="486"/>
                    <a:pt x="140" y="625"/>
                    <a:pt x="313" y="625"/>
                  </a:cubicBezTo>
                  <a:cubicBezTo>
                    <a:pt x="486" y="625"/>
                    <a:pt x="625" y="486"/>
                    <a:pt x="625" y="313"/>
                  </a:cubicBezTo>
                  <a:cubicBezTo>
                    <a:pt x="625" y="140"/>
                    <a:pt x="486" y="0"/>
                    <a:pt x="31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 name="Google Shape;335;p9"/>
            <p:cNvSpPr/>
            <p:nvPr/>
          </p:nvSpPr>
          <p:spPr>
            <a:xfrm>
              <a:off x="6925344" y="5602049"/>
              <a:ext cx="20394" cy="20933"/>
            </a:xfrm>
            <a:custGeom>
              <a:avLst/>
              <a:gdLst/>
              <a:ahLst/>
              <a:cxnLst/>
              <a:rect l="l" t="t" r="r" b="b"/>
              <a:pathLst>
                <a:path w="628" h="628" extrusionOk="0">
                  <a:moveTo>
                    <a:pt x="315" y="1"/>
                  </a:moveTo>
                  <a:cubicBezTo>
                    <a:pt x="142" y="1"/>
                    <a:pt x="1" y="142"/>
                    <a:pt x="1" y="315"/>
                  </a:cubicBezTo>
                  <a:cubicBezTo>
                    <a:pt x="1" y="486"/>
                    <a:pt x="142" y="628"/>
                    <a:pt x="315" y="628"/>
                  </a:cubicBezTo>
                  <a:cubicBezTo>
                    <a:pt x="486" y="628"/>
                    <a:pt x="628" y="486"/>
                    <a:pt x="628" y="315"/>
                  </a:cubicBezTo>
                  <a:cubicBezTo>
                    <a:pt x="628" y="142"/>
                    <a:pt x="486" y="1"/>
                    <a:pt x="315"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 name="Google Shape;336;p9"/>
            <p:cNvSpPr/>
            <p:nvPr/>
          </p:nvSpPr>
          <p:spPr>
            <a:xfrm>
              <a:off x="6925344" y="5793716"/>
              <a:ext cx="20394" cy="20866"/>
            </a:xfrm>
            <a:custGeom>
              <a:avLst/>
              <a:gdLst/>
              <a:ahLst/>
              <a:cxnLst/>
              <a:rect l="l" t="t" r="r" b="b"/>
              <a:pathLst>
                <a:path w="628" h="626" extrusionOk="0">
                  <a:moveTo>
                    <a:pt x="315" y="0"/>
                  </a:moveTo>
                  <a:cubicBezTo>
                    <a:pt x="142" y="0"/>
                    <a:pt x="1" y="140"/>
                    <a:pt x="1" y="313"/>
                  </a:cubicBezTo>
                  <a:cubicBezTo>
                    <a:pt x="1" y="486"/>
                    <a:pt x="142" y="625"/>
                    <a:pt x="315" y="625"/>
                  </a:cubicBezTo>
                  <a:cubicBezTo>
                    <a:pt x="486" y="625"/>
                    <a:pt x="628" y="486"/>
                    <a:pt x="628" y="313"/>
                  </a:cubicBezTo>
                  <a:cubicBezTo>
                    <a:pt x="628" y="140"/>
                    <a:pt x="486" y="0"/>
                    <a:pt x="31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 name="Google Shape;337;p9"/>
            <p:cNvSpPr/>
            <p:nvPr/>
          </p:nvSpPr>
          <p:spPr>
            <a:xfrm>
              <a:off x="5970851" y="5602049"/>
              <a:ext cx="20394" cy="20933"/>
            </a:xfrm>
            <a:custGeom>
              <a:avLst/>
              <a:gdLst/>
              <a:ahLst/>
              <a:cxnLst/>
              <a:rect l="l" t="t" r="r" b="b"/>
              <a:pathLst>
                <a:path w="628" h="628" extrusionOk="0">
                  <a:moveTo>
                    <a:pt x="313" y="1"/>
                  </a:moveTo>
                  <a:cubicBezTo>
                    <a:pt x="140" y="1"/>
                    <a:pt x="1" y="142"/>
                    <a:pt x="1" y="315"/>
                  </a:cubicBezTo>
                  <a:cubicBezTo>
                    <a:pt x="1" y="486"/>
                    <a:pt x="142" y="628"/>
                    <a:pt x="313" y="628"/>
                  </a:cubicBezTo>
                  <a:cubicBezTo>
                    <a:pt x="486" y="628"/>
                    <a:pt x="627" y="486"/>
                    <a:pt x="627" y="315"/>
                  </a:cubicBezTo>
                  <a:cubicBezTo>
                    <a:pt x="627" y="142"/>
                    <a:pt x="486" y="1"/>
                    <a:pt x="31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 name="Google Shape;338;p9"/>
            <p:cNvSpPr/>
            <p:nvPr/>
          </p:nvSpPr>
          <p:spPr>
            <a:xfrm>
              <a:off x="5970851" y="5793716"/>
              <a:ext cx="20394" cy="20866"/>
            </a:xfrm>
            <a:custGeom>
              <a:avLst/>
              <a:gdLst/>
              <a:ahLst/>
              <a:cxnLst/>
              <a:rect l="l" t="t" r="r" b="b"/>
              <a:pathLst>
                <a:path w="628" h="626" extrusionOk="0">
                  <a:moveTo>
                    <a:pt x="313" y="0"/>
                  </a:moveTo>
                  <a:cubicBezTo>
                    <a:pt x="140" y="0"/>
                    <a:pt x="1" y="140"/>
                    <a:pt x="1" y="313"/>
                  </a:cubicBezTo>
                  <a:cubicBezTo>
                    <a:pt x="1" y="486"/>
                    <a:pt x="142" y="625"/>
                    <a:pt x="313" y="625"/>
                  </a:cubicBezTo>
                  <a:cubicBezTo>
                    <a:pt x="486" y="625"/>
                    <a:pt x="627" y="486"/>
                    <a:pt x="627" y="313"/>
                  </a:cubicBezTo>
                  <a:cubicBezTo>
                    <a:pt x="627" y="140"/>
                    <a:pt x="486" y="0"/>
                    <a:pt x="313"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39" name="Google Shape;339;p9"/>
          <p:cNvGrpSpPr/>
          <p:nvPr/>
        </p:nvGrpSpPr>
        <p:grpSpPr>
          <a:xfrm>
            <a:off x="7069823" y="4171370"/>
            <a:ext cx="499076" cy="512221"/>
            <a:chOff x="4706225" y="1356025"/>
            <a:chExt cx="384200" cy="384175"/>
          </a:xfrm>
        </p:grpSpPr>
        <p:sp>
          <p:nvSpPr>
            <p:cNvPr id="340" name="Google Shape;340;p9"/>
            <p:cNvSpPr/>
            <p:nvPr/>
          </p:nvSpPr>
          <p:spPr>
            <a:xfrm>
              <a:off x="4706225" y="1356025"/>
              <a:ext cx="384200" cy="384175"/>
            </a:xfrm>
            <a:custGeom>
              <a:avLst/>
              <a:gdLst/>
              <a:ahLst/>
              <a:cxnLst/>
              <a:rect l="l" t="t" r="r" b="b"/>
              <a:pathLst>
                <a:path w="15368" h="15367" extrusionOk="0">
                  <a:moveTo>
                    <a:pt x="7685" y="582"/>
                  </a:moveTo>
                  <a:cubicBezTo>
                    <a:pt x="11600" y="582"/>
                    <a:pt x="14785" y="3768"/>
                    <a:pt x="14785" y="7683"/>
                  </a:cubicBezTo>
                  <a:cubicBezTo>
                    <a:pt x="14788" y="11599"/>
                    <a:pt x="11600" y="14785"/>
                    <a:pt x="7685" y="14785"/>
                  </a:cubicBezTo>
                  <a:cubicBezTo>
                    <a:pt x="3769" y="14785"/>
                    <a:pt x="583" y="11599"/>
                    <a:pt x="583" y="7683"/>
                  </a:cubicBezTo>
                  <a:cubicBezTo>
                    <a:pt x="583" y="3768"/>
                    <a:pt x="3769" y="582"/>
                    <a:pt x="7685" y="582"/>
                  </a:cubicBezTo>
                  <a:close/>
                  <a:moveTo>
                    <a:pt x="7685" y="1"/>
                  </a:moveTo>
                  <a:cubicBezTo>
                    <a:pt x="3449" y="1"/>
                    <a:pt x="0" y="3447"/>
                    <a:pt x="0" y="7683"/>
                  </a:cubicBezTo>
                  <a:cubicBezTo>
                    <a:pt x="0" y="11919"/>
                    <a:pt x="3449" y="15366"/>
                    <a:pt x="7685" y="15366"/>
                  </a:cubicBezTo>
                  <a:cubicBezTo>
                    <a:pt x="11921" y="15366"/>
                    <a:pt x="15368" y="11919"/>
                    <a:pt x="15368" y="7683"/>
                  </a:cubicBezTo>
                  <a:cubicBezTo>
                    <a:pt x="15368" y="3446"/>
                    <a:pt x="11921" y="1"/>
                    <a:pt x="768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 name="Google Shape;341;p9"/>
            <p:cNvSpPr/>
            <p:nvPr/>
          </p:nvSpPr>
          <p:spPr>
            <a:xfrm>
              <a:off x="4810500" y="1460250"/>
              <a:ext cx="175700" cy="175725"/>
            </a:xfrm>
            <a:custGeom>
              <a:avLst/>
              <a:gdLst/>
              <a:ahLst/>
              <a:cxnLst/>
              <a:rect l="l" t="t" r="r" b="b"/>
              <a:pathLst>
                <a:path w="7028" h="7029" extrusionOk="0">
                  <a:moveTo>
                    <a:pt x="3514" y="584"/>
                  </a:moveTo>
                  <a:cubicBezTo>
                    <a:pt x="5130" y="584"/>
                    <a:pt x="6444" y="1898"/>
                    <a:pt x="6444" y="3514"/>
                  </a:cubicBezTo>
                  <a:cubicBezTo>
                    <a:pt x="6444" y="5131"/>
                    <a:pt x="5130" y="6445"/>
                    <a:pt x="3514" y="6445"/>
                  </a:cubicBezTo>
                  <a:cubicBezTo>
                    <a:pt x="1897" y="6445"/>
                    <a:pt x="583" y="5131"/>
                    <a:pt x="583" y="3514"/>
                  </a:cubicBezTo>
                  <a:cubicBezTo>
                    <a:pt x="583" y="1898"/>
                    <a:pt x="1897" y="584"/>
                    <a:pt x="3514" y="584"/>
                  </a:cubicBezTo>
                  <a:close/>
                  <a:moveTo>
                    <a:pt x="3514" y="1"/>
                  </a:moveTo>
                  <a:cubicBezTo>
                    <a:pt x="1577" y="1"/>
                    <a:pt x="0" y="1578"/>
                    <a:pt x="0" y="3514"/>
                  </a:cubicBezTo>
                  <a:cubicBezTo>
                    <a:pt x="0" y="5451"/>
                    <a:pt x="1577" y="7028"/>
                    <a:pt x="3514" y="7028"/>
                  </a:cubicBezTo>
                  <a:cubicBezTo>
                    <a:pt x="5450" y="7028"/>
                    <a:pt x="7027" y="5451"/>
                    <a:pt x="7027" y="3514"/>
                  </a:cubicBezTo>
                  <a:cubicBezTo>
                    <a:pt x="7027" y="1576"/>
                    <a:pt x="5450" y="1"/>
                    <a:pt x="351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2" name="Google Shape;342;p9"/>
          <p:cNvGrpSpPr/>
          <p:nvPr/>
        </p:nvGrpSpPr>
        <p:grpSpPr>
          <a:xfrm>
            <a:off x="1686434" y="4275626"/>
            <a:ext cx="705454" cy="198428"/>
            <a:chOff x="3505675" y="3415300"/>
            <a:chExt cx="543075" cy="148825"/>
          </a:xfrm>
        </p:grpSpPr>
        <p:sp>
          <p:nvSpPr>
            <p:cNvPr id="343" name="Google Shape;343;p9"/>
            <p:cNvSpPr/>
            <p:nvPr/>
          </p:nvSpPr>
          <p:spPr>
            <a:xfrm>
              <a:off x="3505675" y="3415300"/>
              <a:ext cx="543075" cy="46575"/>
            </a:xfrm>
            <a:custGeom>
              <a:avLst/>
              <a:gdLst/>
              <a:ahLst/>
              <a:cxnLst/>
              <a:rect l="l" t="t" r="r" b="b"/>
              <a:pathLst>
                <a:path w="21723" h="1863" extrusionOk="0">
                  <a:moveTo>
                    <a:pt x="6638" y="1"/>
                  </a:moveTo>
                  <a:cubicBezTo>
                    <a:pt x="5867" y="1"/>
                    <a:pt x="5097" y="240"/>
                    <a:pt x="4378" y="715"/>
                  </a:cubicBezTo>
                  <a:cubicBezTo>
                    <a:pt x="3752" y="1132"/>
                    <a:pt x="3080" y="1340"/>
                    <a:pt x="2409" y="1340"/>
                  </a:cubicBezTo>
                  <a:cubicBezTo>
                    <a:pt x="1737" y="1340"/>
                    <a:pt x="1065" y="1132"/>
                    <a:pt x="439" y="715"/>
                  </a:cubicBezTo>
                  <a:cubicBezTo>
                    <a:pt x="396" y="686"/>
                    <a:pt x="346" y="672"/>
                    <a:pt x="297" y="672"/>
                  </a:cubicBezTo>
                  <a:cubicBezTo>
                    <a:pt x="214" y="672"/>
                    <a:pt x="131" y="713"/>
                    <a:pt x="81" y="788"/>
                  </a:cubicBezTo>
                  <a:cubicBezTo>
                    <a:pt x="1" y="905"/>
                    <a:pt x="34" y="1068"/>
                    <a:pt x="152" y="1147"/>
                  </a:cubicBezTo>
                  <a:cubicBezTo>
                    <a:pt x="870" y="1624"/>
                    <a:pt x="1639" y="1863"/>
                    <a:pt x="2409" y="1863"/>
                  </a:cubicBezTo>
                  <a:cubicBezTo>
                    <a:pt x="3179" y="1863"/>
                    <a:pt x="3949" y="1624"/>
                    <a:pt x="4666" y="1147"/>
                  </a:cubicBezTo>
                  <a:cubicBezTo>
                    <a:pt x="5292" y="730"/>
                    <a:pt x="5964" y="522"/>
                    <a:pt x="6635" y="522"/>
                  </a:cubicBezTo>
                  <a:cubicBezTo>
                    <a:pt x="7307" y="522"/>
                    <a:pt x="7979" y="730"/>
                    <a:pt x="8605" y="1147"/>
                  </a:cubicBezTo>
                  <a:cubicBezTo>
                    <a:pt x="9322" y="1624"/>
                    <a:pt x="10092" y="1863"/>
                    <a:pt x="10862" y="1863"/>
                  </a:cubicBezTo>
                  <a:cubicBezTo>
                    <a:pt x="11632" y="1863"/>
                    <a:pt x="12401" y="1624"/>
                    <a:pt x="13119" y="1147"/>
                  </a:cubicBezTo>
                  <a:cubicBezTo>
                    <a:pt x="13745" y="730"/>
                    <a:pt x="14416" y="522"/>
                    <a:pt x="15088" y="522"/>
                  </a:cubicBezTo>
                  <a:cubicBezTo>
                    <a:pt x="15759" y="522"/>
                    <a:pt x="16431" y="730"/>
                    <a:pt x="17057" y="1147"/>
                  </a:cubicBezTo>
                  <a:cubicBezTo>
                    <a:pt x="17774" y="1624"/>
                    <a:pt x="18544" y="1863"/>
                    <a:pt x="19314" y="1863"/>
                  </a:cubicBezTo>
                  <a:cubicBezTo>
                    <a:pt x="20084" y="1863"/>
                    <a:pt x="20854" y="1624"/>
                    <a:pt x="21571" y="1147"/>
                  </a:cubicBezTo>
                  <a:cubicBezTo>
                    <a:pt x="21689" y="1068"/>
                    <a:pt x="21723" y="908"/>
                    <a:pt x="21642" y="788"/>
                  </a:cubicBezTo>
                  <a:cubicBezTo>
                    <a:pt x="21593" y="713"/>
                    <a:pt x="21511" y="672"/>
                    <a:pt x="21427" y="672"/>
                  </a:cubicBezTo>
                  <a:cubicBezTo>
                    <a:pt x="21378" y="672"/>
                    <a:pt x="21328" y="686"/>
                    <a:pt x="21284" y="715"/>
                  </a:cubicBezTo>
                  <a:cubicBezTo>
                    <a:pt x="20658" y="1132"/>
                    <a:pt x="19986" y="1340"/>
                    <a:pt x="19315" y="1340"/>
                  </a:cubicBezTo>
                  <a:cubicBezTo>
                    <a:pt x="18643" y="1340"/>
                    <a:pt x="17972" y="1132"/>
                    <a:pt x="17346" y="715"/>
                  </a:cubicBezTo>
                  <a:cubicBezTo>
                    <a:pt x="16628" y="239"/>
                    <a:pt x="15858" y="1"/>
                    <a:pt x="15089" y="1"/>
                  </a:cubicBezTo>
                  <a:cubicBezTo>
                    <a:pt x="14319" y="1"/>
                    <a:pt x="13549" y="239"/>
                    <a:pt x="12832" y="715"/>
                  </a:cubicBezTo>
                  <a:cubicBezTo>
                    <a:pt x="12206" y="1132"/>
                    <a:pt x="11534" y="1340"/>
                    <a:pt x="10862" y="1340"/>
                  </a:cubicBezTo>
                  <a:cubicBezTo>
                    <a:pt x="10191" y="1340"/>
                    <a:pt x="9519" y="1132"/>
                    <a:pt x="8893" y="715"/>
                  </a:cubicBezTo>
                  <a:cubicBezTo>
                    <a:pt x="8177" y="240"/>
                    <a:pt x="7407" y="1"/>
                    <a:pt x="663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9"/>
            <p:cNvSpPr/>
            <p:nvPr/>
          </p:nvSpPr>
          <p:spPr>
            <a:xfrm>
              <a:off x="3505675" y="3517550"/>
              <a:ext cx="543075" cy="46575"/>
            </a:xfrm>
            <a:custGeom>
              <a:avLst/>
              <a:gdLst/>
              <a:ahLst/>
              <a:cxnLst/>
              <a:rect l="l" t="t" r="r" b="b"/>
              <a:pathLst>
                <a:path w="21723" h="1863" extrusionOk="0">
                  <a:moveTo>
                    <a:pt x="6638" y="1"/>
                  </a:moveTo>
                  <a:cubicBezTo>
                    <a:pt x="5867" y="1"/>
                    <a:pt x="5097" y="241"/>
                    <a:pt x="4378" y="716"/>
                  </a:cubicBezTo>
                  <a:cubicBezTo>
                    <a:pt x="3752" y="1132"/>
                    <a:pt x="3080" y="1341"/>
                    <a:pt x="2409" y="1341"/>
                  </a:cubicBezTo>
                  <a:cubicBezTo>
                    <a:pt x="1737" y="1341"/>
                    <a:pt x="1065" y="1132"/>
                    <a:pt x="439" y="716"/>
                  </a:cubicBezTo>
                  <a:cubicBezTo>
                    <a:pt x="396" y="687"/>
                    <a:pt x="346" y="673"/>
                    <a:pt x="297" y="673"/>
                  </a:cubicBezTo>
                  <a:cubicBezTo>
                    <a:pt x="214" y="673"/>
                    <a:pt x="131" y="713"/>
                    <a:pt x="81" y="789"/>
                  </a:cubicBezTo>
                  <a:cubicBezTo>
                    <a:pt x="1" y="906"/>
                    <a:pt x="34" y="1068"/>
                    <a:pt x="152" y="1147"/>
                  </a:cubicBezTo>
                  <a:cubicBezTo>
                    <a:pt x="870" y="1624"/>
                    <a:pt x="1639" y="1863"/>
                    <a:pt x="2409" y="1863"/>
                  </a:cubicBezTo>
                  <a:cubicBezTo>
                    <a:pt x="3179" y="1863"/>
                    <a:pt x="3949" y="1624"/>
                    <a:pt x="4666" y="1147"/>
                  </a:cubicBezTo>
                  <a:cubicBezTo>
                    <a:pt x="5292" y="730"/>
                    <a:pt x="5964" y="522"/>
                    <a:pt x="6635" y="522"/>
                  </a:cubicBezTo>
                  <a:cubicBezTo>
                    <a:pt x="7307" y="522"/>
                    <a:pt x="7979" y="730"/>
                    <a:pt x="8605" y="1147"/>
                  </a:cubicBezTo>
                  <a:cubicBezTo>
                    <a:pt x="9322" y="1624"/>
                    <a:pt x="10092" y="1863"/>
                    <a:pt x="10862" y="1863"/>
                  </a:cubicBezTo>
                  <a:cubicBezTo>
                    <a:pt x="11632" y="1863"/>
                    <a:pt x="12401" y="1624"/>
                    <a:pt x="13119" y="1147"/>
                  </a:cubicBezTo>
                  <a:cubicBezTo>
                    <a:pt x="13745" y="730"/>
                    <a:pt x="14416" y="522"/>
                    <a:pt x="15088" y="522"/>
                  </a:cubicBezTo>
                  <a:cubicBezTo>
                    <a:pt x="15759" y="522"/>
                    <a:pt x="16431" y="730"/>
                    <a:pt x="17057" y="1147"/>
                  </a:cubicBezTo>
                  <a:cubicBezTo>
                    <a:pt x="17774" y="1624"/>
                    <a:pt x="18544" y="1863"/>
                    <a:pt x="19314" y="1863"/>
                  </a:cubicBezTo>
                  <a:cubicBezTo>
                    <a:pt x="20084" y="1863"/>
                    <a:pt x="20854" y="1624"/>
                    <a:pt x="21571" y="1147"/>
                  </a:cubicBezTo>
                  <a:cubicBezTo>
                    <a:pt x="21689" y="1069"/>
                    <a:pt x="21723" y="909"/>
                    <a:pt x="21642" y="789"/>
                  </a:cubicBezTo>
                  <a:cubicBezTo>
                    <a:pt x="21593" y="713"/>
                    <a:pt x="21511" y="673"/>
                    <a:pt x="21427" y="673"/>
                  </a:cubicBezTo>
                  <a:cubicBezTo>
                    <a:pt x="21378" y="673"/>
                    <a:pt x="21328" y="687"/>
                    <a:pt x="21284" y="716"/>
                  </a:cubicBezTo>
                  <a:cubicBezTo>
                    <a:pt x="20658" y="1132"/>
                    <a:pt x="19986" y="1341"/>
                    <a:pt x="19315" y="1341"/>
                  </a:cubicBezTo>
                  <a:cubicBezTo>
                    <a:pt x="18643" y="1341"/>
                    <a:pt x="17972" y="1132"/>
                    <a:pt x="17346" y="716"/>
                  </a:cubicBezTo>
                  <a:cubicBezTo>
                    <a:pt x="16628" y="239"/>
                    <a:pt x="15858" y="1"/>
                    <a:pt x="15089" y="1"/>
                  </a:cubicBezTo>
                  <a:cubicBezTo>
                    <a:pt x="14319" y="1"/>
                    <a:pt x="13549" y="239"/>
                    <a:pt x="12832" y="716"/>
                  </a:cubicBezTo>
                  <a:cubicBezTo>
                    <a:pt x="12206" y="1132"/>
                    <a:pt x="11534" y="1341"/>
                    <a:pt x="10862" y="1341"/>
                  </a:cubicBezTo>
                  <a:cubicBezTo>
                    <a:pt x="10191" y="1341"/>
                    <a:pt x="9519" y="1132"/>
                    <a:pt x="8893" y="716"/>
                  </a:cubicBezTo>
                  <a:cubicBezTo>
                    <a:pt x="8177" y="241"/>
                    <a:pt x="7407" y="1"/>
                    <a:pt x="663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5" name="Google Shape;345;p9"/>
          <p:cNvSpPr/>
          <p:nvPr/>
        </p:nvSpPr>
        <p:spPr>
          <a:xfrm rot="-5400000">
            <a:off x="8057937" y="-14128"/>
            <a:ext cx="1071937" cy="1100173"/>
          </a:xfrm>
          <a:custGeom>
            <a:avLst/>
            <a:gdLst/>
            <a:ahLst/>
            <a:cxnLst/>
            <a:rect l="l" t="t" r="r" b="b"/>
            <a:pathLst>
              <a:path w="17415" h="17414" extrusionOk="0">
                <a:moveTo>
                  <a:pt x="17200" y="216"/>
                </a:moveTo>
                <a:lnTo>
                  <a:pt x="17200" y="4300"/>
                </a:lnTo>
                <a:lnTo>
                  <a:pt x="13116" y="4300"/>
                </a:lnTo>
                <a:lnTo>
                  <a:pt x="13116" y="216"/>
                </a:lnTo>
                <a:close/>
                <a:moveTo>
                  <a:pt x="12899" y="4515"/>
                </a:moveTo>
                <a:lnTo>
                  <a:pt x="12899" y="8598"/>
                </a:lnTo>
                <a:lnTo>
                  <a:pt x="8816" y="8598"/>
                </a:lnTo>
                <a:lnTo>
                  <a:pt x="8816" y="4515"/>
                </a:lnTo>
                <a:close/>
                <a:moveTo>
                  <a:pt x="17200" y="4515"/>
                </a:moveTo>
                <a:lnTo>
                  <a:pt x="17200" y="8598"/>
                </a:lnTo>
                <a:lnTo>
                  <a:pt x="13116" y="8598"/>
                </a:lnTo>
                <a:lnTo>
                  <a:pt x="13116" y="4515"/>
                </a:lnTo>
                <a:close/>
                <a:moveTo>
                  <a:pt x="8600" y="8815"/>
                </a:moveTo>
                <a:lnTo>
                  <a:pt x="8600" y="12898"/>
                </a:lnTo>
                <a:lnTo>
                  <a:pt x="4518" y="12898"/>
                </a:lnTo>
                <a:lnTo>
                  <a:pt x="4518" y="8815"/>
                </a:lnTo>
                <a:close/>
                <a:moveTo>
                  <a:pt x="12899" y="8817"/>
                </a:moveTo>
                <a:lnTo>
                  <a:pt x="12899" y="12899"/>
                </a:lnTo>
                <a:lnTo>
                  <a:pt x="8816" y="12899"/>
                </a:lnTo>
                <a:lnTo>
                  <a:pt x="8816" y="8817"/>
                </a:lnTo>
                <a:close/>
                <a:moveTo>
                  <a:pt x="17200" y="8817"/>
                </a:moveTo>
                <a:lnTo>
                  <a:pt x="17200" y="12899"/>
                </a:lnTo>
                <a:lnTo>
                  <a:pt x="13116" y="12899"/>
                </a:lnTo>
                <a:lnTo>
                  <a:pt x="13116" y="8817"/>
                </a:lnTo>
                <a:close/>
                <a:moveTo>
                  <a:pt x="4301" y="13116"/>
                </a:moveTo>
                <a:lnTo>
                  <a:pt x="4301" y="17199"/>
                </a:lnTo>
                <a:lnTo>
                  <a:pt x="216" y="17199"/>
                </a:lnTo>
                <a:lnTo>
                  <a:pt x="216" y="13116"/>
                </a:lnTo>
                <a:close/>
                <a:moveTo>
                  <a:pt x="8600" y="13116"/>
                </a:moveTo>
                <a:lnTo>
                  <a:pt x="8600" y="17199"/>
                </a:lnTo>
                <a:lnTo>
                  <a:pt x="4516" y="17199"/>
                </a:lnTo>
                <a:lnTo>
                  <a:pt x="4516" y="13116"/>
                </a:lnTo>
                <a:close/>
                <a:moveTo>
                  <a:pt x="12899" y="13116"/>
                </a:moveTo>
                <a:lnTo>
                  <a:pt x="12899" y="17199"/>
                </a:lnTo>
                <a:lnTo>
                  <a:pt x="8816" y="17199"/>
                </a:lnTo>
                <a:lnTo>
                  <a:pt x="8816" y="13116"/>
                </a:lnTo>
                <a:close/>
                <a:moveTo>
                  <a:pt x="17200" y="13116"/>
                </a:moveTo>
                <a:lnTo>
                  <a:pt x="17200" y="17199"/>
                </a:lnTo>
                <a:lnTo>
                  <a:pt x="13116" y="17199"/>
                </a:lnTo>
                <a:lnTo>
                  <a:pt x="13116" y="13116"/>
                </a:lnTo>
                <a:close/>
                <a:moveTo>
                  <a:pt x="12899" y="0"/>
                </a:moveTo>
                <a:lnTo>
                  <a:pt x="12899" y="4300"/>
                </a:lnTo>
                <a:lnTo>
                  <a:pt x="8600" y="4300"/>
                </a:lnTo>
                <a:lnTo>
                  <a:pt x="8600" y="8598"/>
                </a:lnTo>
                <a:lnTo>
                  <a:pt x="4301" y="8598"/>
                </a:lnTo>
                <a:lnTo>
                  <a:pt x="4301" y="12898"/>
                </a:lnTo>
                <a:lnTo>
                  <a:pt x="1" y="12898"/>
                </a:lnTo>
                <a:lnTo>
                  <a:pt x="1" y="17413"/>
                </a:lnTo>
                <a:lnTo>
                  <a:pt x="17414" y="17413"/>
                </a:lnTo>
                <a:lnTo>
                  <a:pt x="17414" y="13113"/>
                </a:lnTo>
                <a:lnTo>
                  <a:pt x="17414" y="12898"/>
                </a:lnTo>
                <a:lnTo>
                  <a:pt x="17414" y="8815"/>
                </a:lnTo>
                <a:lnTo>
                  <a:pt x="17414" y="8598"/>
                </a:lnTo>
                <a:lnTo>
                  <a:pt x="17414" y="4515"/>
                </a:lnTo>
                <a:lnTo>
                  <a:pt x="17414" y="4300"/>
                </a:lnTo>
                <a:lnTo>
                  <a:pt x="17414"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346" name="Google Shape;346;p9"/>
          <p:cNvCxnSpPr/>
          <p:nvPr/>
        </p:nvCxnSpPr>
        <p:spPr>
          <a:xfrm>
            <a:off x="810959" y="719996"/>
            <a:ext cx="0" cy="462300"/>
          </a:xfrm>
          <a:prstGeom prst="straightConnector1">
            <a:avLst/>
          </a:prstGeom>
          <a:noFill/>
          <a:ln w="9525" cap="flat" cmpd="sng">
            <a:solidFill>
              <a:schemeClr val="dk2"/>
            </a:solidFill>
            <a:prstDash val="solid"/>
            <a:round/>
            <a:headEnd type="none" w="med" len="med"/>
            <a:tailEnd type="none" w="med" len="med"/>
          </a:ln>
        </p:spPr>
      </p:cxnSp>
      <p:sp>
        <p:nvSpPr>
          <p:cNvPr id="347" name="Google Shape;347;p9"/>
          <p:cNvSpPr txBox="1">
            <a:spLocks noGrp="1"/>
          </p:cNvSpPr>
          <p:nvPr>
            <p:ph type="subTitle" idx="6"/>
          </p:nvPr>
        </p:nvSpPr>
        <p:spPr>
          <a:xfrm>
            <a:off x="5539750" y="720000"/>
            <a:ext cx="1106700" cy="462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latin typeface="Nunito"/>
                <a:ea typeface="Nunito"/>
                <a:cs typeface="Nunito"/>
                <a:sym typeface="Nunito"/>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365"/>
        <p:cNvGrpSpPr/>
        <p:nvPr/>
      </p:nvGrpSpPr>
      <p:grpSpPr>
        <a:xfrm>
          <a:off x="0" y="0"/>
          <a:ext cx="0" cy="0"/>
          <a:chOff x="0" y="0"/>
          <a:chExt cx="0" cy="0"/>
        </a:xfrm>
      </p:grpSpPr>
      <p:sp>
        <p:nvSpPr>
          <p:cNvPr id="366" name="Google Shape;366;p11"/>
          <p:cNvSpPr/>
          <p:nvPr/>
        </p:nvSpPr>
        <p:spPr>
          <a:xfrm flipH="1">
            <a:off x="5409000" y="4136100"/>
            <a:ext cx="3735000" cy="2721900"/>
          </a:xfrm>
          <a:prstGeom prst="rtTriangl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367;p11"/>
          <p:cNvSpPr txBox="1">
            <a:spLocks noGrp="1"/>
          </p:cNvSpPr>
          <p:nvPr>
            <p:ph type="title" hasCustomPrompt="1"/>
          </p:nvPr>
        </p:nvSpPr>
        <p:spPr>
          <a:xfrm>
            <a:off x="1059900" y="2534675"/>
            <a:ext cx="7024200" cy="1576500"/>
          </a:xfrm>
          <a:prstGeom prst="rect">
            <a:avLst/>
          </a:prstGeom>
        </p:spPr>
        <p:txBody>
          <a:bodyPr spcFirstLastPara="1" wrap="square" lIns="91425" tIns="91425" rIns="91425" bIns="91425" anchor="b" anchorCtr="0">
            <a:noAutofit/>
          </a:bodyPr>
          <a:lstStyle>
            <a:lvl1pPr lvl="0" algn="ctr">
              <a:spcBef>
                <a:spcPts val="0"/>
              </a:spcBef>
              <a:spcAft>
                <a:spcPts val="0"/>
              </a:spcAft>
              <a:buSzPts val="9600"/>
              <a:buNone/>
              <a:defRPr sz="8500"/>
            </a:lvl1pPr>
            <a:lvl2pPr lvl="1" algn="ctr">
              <a:spcBef>
                <a:spcPts val="0"/>
              </a:spcBef>
              <a:spcAft>
                <a:spcPts val="0"/>
              </a:spcAft>
              <a:buSzPts val="9600"/>
              <a:buNone/>
              <a:defRPr sz="9600"/>
            </a:lvl2pPr>
            <a:lvl3pPr lvl="2" algn="ctr">
              <a:spcBef>
                <a:spcPts val="0"/>
              </a:spcBef>
              <a:spcAft>
                <a:spcPts val="0"/>
              </a:spcAft>
              <a:buSzPts val="9600"/>
              <a:buNone/>
              <a:defRPr sz="9600"/>
            </a:lvl3pPr>
            <a:lvl4pPr lvl="3" algn="ctr">
              <a:spcBef>
                <a:spcPts val="0"/>
              </a:spcBef>
              <a:spcAft>
                <a:spcPts val="0"/>
              </a:spcAft>
              <a:buSzPts val="9600"/>
              <a:buNone/>
              <a:defRPr sz="9600"/>
            </a:lvl4pPr>
            <a:lvl5pPr lvl="4" algn="ctr">
              <a:spcBef>
                <a:spcPts val="0"/>
              </a:spcBef>
              <a:spcAft>
                <a:spcPts val="0"/>
              </a:spcAft>
              <a:buSzPts val="9600"/>
              <a:buNone/>
              <a:defRPr sz="9600"/>
            </a:lvl5pPr>
            <a:lvl6pPr lvl="5" algn="ctr">
              <a:spcBef>
                <a:spcPts val="0"/>
              </a:spcBef>
              <a:spcAft>
                <a:spcPts val="0"/>
              </a:spcAft>
              <a:buSzPts val="9600"/>
              <a:buNone/>
              <a:defRPr sz="9600"/>
            </a:lvl6pPr>
            <a:lvl7pPr lvl="6" algn="ctr">
              <a:spcBef>
                <a:spcPts val="0"/>
              </a:spcBef>
              <a:spcAft>
                <a:spcPts val="0"/>
              </a:spcAft>
              <a:buSzPts val="9600"/>
              <a:buNone/>
              <a:defRPr sz="9600"/>
            </a:lvl7pPr>
            <a:lvl8pPr lvl="7" algn="ctr">
              <a:spcBef>
                <a:spcPts val="0"/>
              </a:spcBef>
              <a:spcAft>
                <a:spcPts val="0"/>
              </a:spcAft>
              <a:buSzPts val="9600"/>
              <a:buNone/>
              <a:defRPr sz="9600"/>
            </a:lvl8pPr>
            <a:lvl9pPr lvl="8" algn="ctr">
              <a:spcBef>
                <a:spcPts val="0"/>
              </a:spcBef>
              <a:spcAft>
                <a:spcPts val="0"/>
              </a:spcAft>
              <a:buSzPts val="9600"/>
              <a:buNone/>
              <a:defRPr sz="9600"/>
            </a:lvl9pPr>
          </a:lstStyle>
          <a:p>
            <a:r>
              <a:t>xx%</a:t>
            </a:r>
          </a:p>
        </p:txBody>
      </p:sp>
      <p:sp>
        <p:nvSpPr>
          <p:cNvPr id="368" name="Google Shape;368;p11"/>
          <p:cNvSpPr txBox="1">
            <a:spLocks noGrp="1"/>
          </p:cNvSpPr>
          <p:nvPr>
            <p:ph type="subTitle" idx="1"/>
          </p:nvPr>
        </p:nvSpPr>
        <p:spPr>
          <a:xfrm>
            <a:off x="1059900" y="4111350"/>
            <a:ext cx="7024200" cy="4863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600"/>
              <a:buNone/>
              <a:defRPr sz="1600"/>
            </a:lvl1pPr>
            <a:lvl2pPr lvl="1" algn="ctr" rtl="0">
              <a:lnSpc>
                <a:spcPct val="100000"/>
              </a:lnSpc>
              <a:spcBef>
                <a:spcPts val="1600"/>
              </a:spcBef>
              <a:spcAft>
                <a:spcPts val="0"/>
              </a:spcAft>
              <a:buSzPts val="1600"/>
              <a:buNone/>
              <a:defRPr sz="1600"/>
            </a:lvl2pPr>
            <a:lvl3pPr lvl="2" algn="ctr" rtl="0">
              <a:lnSpc>
                <a:spcPct val="100000"/>
              </a:lnSpc>
              <a:spcBef>
                <a:spcPts val="1600"/>
              </a:spcBef>
              <a:spcAft>
                <a:spcPts val="0"/>
              </a:spcAft>
              <a:buSzPts val="1600"/>
              <a:buNone/>
              <a:defRPr sz="1600"/>
            </a:lvl3pPr>
            <a:lvl4pPr lvl="3" algn="ctr" rtl="0">
              <a:lnSpc>
                <a:spcPct val="100000"/>
              </a:lnSpc>
              <a:spcBef>
                <a:spcPts val="1600"/>
              </a:spcBef>
              <a:spcAft>
                <a:spcPts val="0"/>
              </a:spcAft>
              <a:buSzPts val="1600"/>
              <a:buNone/>
              <a:defRPr sz="1600"/>
            </a:lvl4pPr>
            <a:lvl5pPr lvl="4" algn="ctr" rtl="0">
              <a:lnSpc>
                <a:spcPct val="100000"/>
              </a:lnSpc>
              <a:spcBef>
                <a:spcPts val="1600"/>
              </a:spcBef>
              <a:spcAft>
                <a:spcPts val="0"/>
              </a:spcAft>
              <a:buSzPts val="1600"/>
              <a:buNone/>
              <a:defRPr sz="1600"/>
            </a:lvl5pPr>
            <a:lvl6pPr lvl="5" algn="ctr" rtl="0">
              <a:lnSpc>
                <a:spcPct val="100000"/>
              </a:lnSpc>
              <a:spcBef>
                <a:spcPts val="1600"/>
              </a:spcBef>
              <a:spcAft>
                <a:spcPts val="0"/>
              </a:spcAft>
              <a:buSzPts val="1600"/>
              <a:buNone/>
              <a:defRPr sz="1600"/>
            </a:lvl6pPr>
            <a:lvl7pPr lvl="6" algn="ctr" rtl="0">
              <a:lnSpc>
                <a:spcPct val="100000"/>
              </a:lnSpc>
              <a:spcBef>
                <a:spcPts val="1600"/>
              </a:spcBef>
              <a:spcAft>
                <a:spcPts val="0"/>
              </a:spcAft>
              <a:buSzPts val="1600"/>
              <a:buNone/>
              <a:defRPr sz="1600"/>
            </a:lvl7pPr>
            <a:lvl8pPr lvl="7" algn="ctr" rtl="0">
              <a:lnSpc>
                <a:spcPct val="100000"/>
              </a:lnSpc>
              <a:spcBef>
                <a:spcPts val="1600"/>
              </a:spcBef>
              <a:spcAft>
                <a:spcPts val="0"/>
              </a:spcAft>
              <a:buSzPts val="1600"/>
              <a:buNone/>
              <a:defRPr sz="1600"/>
            </a:lvl8pPr>
            <a:lvl9pPr lvl="8" algn="ctr" rtl="0">
              <a:lnSpc>
                <a:spcPct val="100000"/>
              </a:lnSpc>
              <a:spcBef>
                <a:spcPts val="1600"/>
              </a:spcBef>
              <a:spcAft>
                <a:spcPts val="1600"/>
              </a:spcAft>
              <a:buSzPts val="1600"/>
              <a:buNone/>
              <a:defRPr sz="1600"/>
            </a:lvl9pPr>
          </a:lstStyle>
          <a:p>
            <a:endParaRPr/>
          </a:p>
        </p:txBody>
      </p:sp>
      <p:cxnSp>
        <p:nvCxnSpPr>
          <p:cNvPr id="369" name="Google Shape;369;p11"/>
          <p:cNvCxnSpPr/>
          <p:nvPr/>
        </p:nvCxnSpPr>
        <p:spPr>
          <a:xfrm>
            <a:off x="8516600" y="6520375"/>
            <a:ext cx="306000" cy="0"/>
          </a:xfrm>
          <a:prstGeom prst="straightConnector1">
            <a:avLst/>
          </a:prstGeom>
          <a:noFill/>
          <a:ln w="9525" cap="flat" cmpd="sng">
            <a:solidFill>
              <a:schemeClr val="lt1"/>
            </a:solidFill>
            <a:prstDash val="solid"/>
            <a:round/>
            <a:headEnd type="none" w="med" len="med"/>
            <a:tailEnd type="stealth" w="med" len="med"/>
          </a:ln>
        </p:spPr>
      </p:cxnSp>
      <p:cxnSp>
        <p:nvCxnSpPr>
          <p:cNvPr id="370" name="Google Shape;370;p11"/>
          <p:cNvCxnSpPr/>
          <p:nvPr/>
        </p:nvCxnSpPr>
        <p:spPr>
          <a:xfrm rot="10800000">
            <a:off x="8025400" y="6520375"/>
            <a:ext cx="306000" cy="0"/>
          </a:xfrm>
          <a:prstGeom prst="straightConnector1">
            <a:avLst/>
          </a:prstGeom>
          <a:noFill/>
          <a:ln w="9525" cap="flat" cmpd="sng">
            <a:solidFill>
              <a:schemeClr val="lt1"/>
            </a:solidFill>
            <a:prstDash val="solid"/>
            <a:round/>
            <a:headEnd type="none" w="med" len="med"/>
            <a:tailEnd type="stealth" w="med" len="med"/>
          </a:ln>
        </p:spPr>
      </p:cxnSp>
      <p:sp>
        <p:nvSpPr>
          <p:cNvPr id="371" name="Google Shape;371;p11"/>
          <p:cNvSpPr txBox="1">
            <a:spLocks noGrp="1"/>
          </p:cNvSpPr>
          <p:nvPr>
            <p:ph type="subTitle" idx="2"/>
          </p:nvPr>
        </p:nvSpPr>
        <p:spPr>
          <a:xfrm>
            <a:off x="882350" y="720000"/>
            <a:ext cx="1106700" cy="462000"/>
          </a:xfrm>
          <a:prstGeom prst="rect">
            <a:avLst/>
          </a:prstGeom>
          <a:ln>
            <a:noFill/>
          </a:ln>
        </p:spPr>
        <p:txBody>
          <a:bodyPr spcFirstLastPara="1" wrap="square" lIns="91425" tIns="91425" rIns="91425" bIns="91425" anchor="ctr" anchorCtr="0">
            <a:noAutofit/>
          </a:bodyPr>
          <a:lstStyle>
            <a:lvl1pPr lvl="0" algn="ctr" rtl="0">
              <a:lnSpc>
                <a:spcPct val="100000"/>
              </a:lnSpc>
              <a:spcBef>
                <a:spcPts val="0"/>
              </a:spcBef>
              <a:spcAft>
                <a:spcPts val="0"/>
              </a:spcAft>
              <a:buClr>
                <a:schemeClr val="dk2"/>
              </a:buClr>
              <a:buSzPts val="1100"/>
              <a:buNone/>
              <a:defRPr sz="950"/>
            </a:lvl1pPr>
            <a:lvl2pPr lvl="1" algn="ctr" rtl="0">
              <a:lnSpc>
                <a:spcPct val="100000"/>
              </a:lnSpc>
              <a:spcBef>
                <a:spcPts val="0"/>
              </a:spcBef>
              <a:spcAft>
                <a:spcPts val="0"/>
              </a:spcAft>
              <a:buClr>
                <a:schemeClr val="dk2"/>
              </a:buClr>
              <a:buSzPts val="1100"/>
              <a:buNone/>
              <a:defRPr sz="1100" b="1">
                <a:solidFill>
                  <a:schemeClr val="dk2"/>
                </a:solidFill>
              </a:defRPr>
            </a:lvl2pPr>
            <a:lvl3pPr lvl="2" algn="ctr" rtl="0">
              <a:lnSpc>
                <a:spcPct val="100000"/>
              </a:lnSpc>
              <a:spcBef>
                <a:spcPts val="0"/>
              </a:spcBef>
              <a:spcAft>
                <a:spcPts val="0"/>
              </a:spcAft>
              <a:buClr>
                <a:schemeClr val="dk2"/>
              </a:buClr>
              <a:buSzPts val="1100"/>
              <a:buNone/>
              <a:defRPr sz="1100" b="1">
                <a:solidFill>
                  <a:schemeClr val="dk2"/>
                </a:solidFill>
              </a:defRPr>
            </a:lvl3pPr>
            <a:lvl4pPr lvl="3" algn="ctr" rtl="0">
              <a:lnSpc>
                <a:spcPct val="100000"/>
              </a:lnSpc>
              <a:spcBef>
                <a:spcPts val="0"/>
              </a:spcBef>
              <a:spcAft>
                <a:spcPts val="0"/>
              </a:spcAft>
              <a:buClr>
                <a:schemeClr val="dk2"/>
              </a:buClr>
              <a:buSzPts val="1100"/>
              <a:buNone/>
              <a:defRPr sz="1100" b="1">
                <a:solidFill>
                  <a:schemeClr val="dk2"/>
                </a:solidFill>
              </a:defRPr>
            </a:lvl4pPr>
            <a:lvl5pPr lvl="4" algn="ctr" rtl="0">
              <a:lnSpc>
                <a:spcPct val="100000"/>
              </a:lnSpc>
              <a:spcBef>
                <a:spcPts val="0"/>
              </a:spcBef>
              <a:spcAft>
                <a:spcPts val="0"/>
              </a:spcAft>
              <a:buClr>
                <a:schemeClr val="dk2"/>
              </a:buClr>
              <a:buSzPts val="1100"/>
              <a:buNone/>
              <a:defRPr sz="1100" b="1">
                <a:solidFill>
                  <a:schemeClr val="dk2"/>
                </a:solidFill>
              </a:defRPr>
            </a:lvl5pPr>
            <a:lvl6pPr lvl="5" algn="ctr" rtl="0">
              <a:lnSpc>
                <a:spcPct val="100000"/>
              </a:lnSpc>
              <a:spcBef>
                <a:spcPts val="0"/>
              </a:spcBef>
              <a:spcAft>
                <a:spcPts val="0"/>
              </a:spcAft>
              <a:buClr>
                <a:schemeClr val="dk2"/>
              </a:buClr>
              <a:buSzPts val="1100"/>
              <a:buNone/>
              <a:defRPr sz="1100" b="1">
                <a:solidFill>
                  <a:schemeClr val="dk2"/>
                </a:solidFill>
              </a:defRPr>
            </a:lvl6pPr>
            <a:lvl7pPr lvl="6" algn="ctr" rtl="0">
              <a:lnSpc>
                <a:spcPct val="100000"/>
              </a:lnSpc>
              <a:spcBef>
                <a:spcPts val="0"/>
              </a:spcBef>
              <a:spcAft>
                <a:spcPts val="0"/>
              </a:spcAft>
              <a:buClr>
                <a:schemeClr val="dk2"/>
              </a:buClr>
              <a:buSzPts val="1100"/>
              <a:buNone/>
              <a:defRPr sz="1100" b="1">
                <a:solidFill>
                  <a:schemeClr val="dk2"/>
                </a:solidFill>
              </a:defRPr>
            </a:lvl7pPr>
            <a:lvl8pPr lvl="7" algn="ctr" rtl="0">
              <a:lnSpc>
                <a:spcPct val="100000"/>
              </a:lnSpc>
              <a:spcBef>
                <a:spcPts val="0"/>
              </a:spcBef>
              <a:spcAft>
                <a:spcPts val="0"/>
              </a:spcAft>
              <a:buClr>
                <a:schemeClr val="dk2"/>
              </a:buClr>
              <a:buSzPts val="1100"/>
              <a:buNone/>
              <a:defRPr sz="1100" b="1">
                <a:solidFill>
                  <a:schemeClr val="dk2"/>
                </a:solidFill>
              </a:defRPr>
            </a:lvl8pPr>
            <a:lvl9pPr lvl="8" algn="ctr" rtl="0">
              <a:lnSpc>
                <a:spcPct val="100000"/>
              </a:lnSpc>
              <a:spcBef>
                <a:spcPts val="0"/>
              </a:spcBef>
              <a:spcAft>
                <a:spcPts val="0"/>
              </a:spcAft>
              <a:buClr>
                <a:schemeClr val="dk2"/>
              </a:buClr>
              <a:buSzPts val="1100"/>
              <a:buNone/>
              <a:defRPr sz="1100" b="1">
                <a:solidFill>
                  <a:schemeClr val="dk2"/>
                </a:solidFill>
              </a:defRPr>
            </a:lvl9pPr>
          </a:lstStyle>
          <a:p>
            <a:endParaRPr/>
          </a:p>
        </p:txBody>
      </p:sp>
      <p:sp>
        <p:nvSpPr>
          <p:cNvPr id="372" name="Google Shape;372;p11"/>
          <p:cNvSpPr txBox="1">
            <a:spLocks noGrp="1"/>
          </p:cNvSpPr>
          <p:nvPr>
            <p:ph type="subTitle" idx="3"/>
          </p:nvPr>
        </p:nvSpPr>
        <p:spPr>
          <a:xfrm>
            <a:off x="2046700" y="720000"/>
            <a:ext cx="1106700" cy="462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latin typeface="Nunito"/>
                <a:ea typeface="Nunito"/>
                <a:cs typeface="Nunito"/>
                <a:sym typeface="Nunito"/>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
        <p:nvSpPr>
          <p:cNvPr id="373" name="Google Shape;373;p11">
            <a:hlinkClick r:id="" action="ppaction://noaction"/>
          </p:cNvPr>
          <p:cNvSpPr txBox="1">
            <a:spLocks noGrp="1"/>
          </p:cNvSpPr>
          <p:nvPr>
            <p:ph type="subTitle" idx="4"/>
          </p:nvPr>
        </p:nvSpPr>
        <p:spPr>
          <a:xfrm>
            <a:off x="3211050" y="720000"/>
            <a:ext cx="1106700" cy="462000"/>
          </a:xfrm>
          <a:prstGeom prst="rect">
            <a:avLst/>
          </a:prstGeom>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solidFill>
                  <a:schemeClr val="dk2"/>
                </a:solidFill>
                <a:latin typeface="Nunito Black"/>
                <a:ea typeface="Nunito Black"/>
                <a:cs typeface="Nunito Black"/>
                <a:sym typeface="Nunito Black"/>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
        <p:nvSpPr>
          <p:cNvPr id="374" name="Google Shape;374;p11"/>
          <p:cNvSpPr txBox="1">
            <a:spLocks noGrp="1"/>
          </p:cNvSpPr>
          <p:nvPr>
            <p:ph type="subTitle" idx="5"/>
          </p:nvPr>
        </p:nvSpPr>
        <p:spPr>
          <a:xfrm>
            <a:off x="4375400" y="720000"/>
            <a:ext cx="1106700" cy="462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latin typeface="Nunito"/>
                <a:ea typeface="Nunito"/>
                <a:cs typeface="Nunito"/>
                <a:sym typeface="Nunito"/>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
        <p:nvSpPr>
          <p:cNvPr id="375" name="Google Shape;375;p11"/>
          <p:cNvSpPr/>
          <p:nvPr/>
        </p:nvSpPr>
        <p:spPr>
          <a:xfrm>
            <a:off x="1751331" y="5452519"/>
            <a:ext cx="1107950" cy="1137105"/>
          </a:xfrm>
          <a:custGeom>
            <a:avLst/>
            <a:gdLst/>
            <a:ahLst/>
            <a:cxnLst/>
            <a:rect l="l" t="t" r="r" b="b"/>
            <a:pathLst>
              <a:path w="34117" h="34114" extrusionOk="0">
                <a:moveTo>
                  <a:pt x="16550" y="1"/>
                </a:moveTo>
                <a:cubicBezTo>
                  <a:pt x="16546" y="1"/>
                  <a:pt x="16541" y="1"/>
                  <a:pt x="16536" y="1"/>
                </a:cubicBezTo>
                <a:cubicBezTo>
                  <a:pt x="16277" y="9"/>
                  <a:pt x="16072" y="224"/>
                  <a:pt x="16079" y="487"/>
                </a:cubicBezTo>
                <a:cubicBezTo>
                  <a:pt x="16088" y="743"/>
                  <a:pt x="16296" y="943"/>
                  <a:pt x="16551" y="943"/>
                </a:cubicBezTo>
                <a:lnTo>
                  <a:pt x="16565" y="943"/>
                </a:lnTo>
                <a:cubicBezTo>
                  <a:pt x="16826" y="934"/>
                  <a:pt x="17031" y="717"/>
                  <a:pt x="17022" y="458"/>
                </a:cubicBezTo>
                <a:cubicBezTo>
                  <a:pt x="17014" y="201"/>
                  <a:pt x="16806" y="1"/>
                  <a:pt x="16550" y="1"/>
                </a:cubicBezTo>
                <a:close/>
                <a:moveTo>
                  <a:pt x="18442" y="54"/>
                </a:moveTo>
                <a:cubicBezTo>
                  <a:pt x="18201" y="54"/>
                  <a:pt x="17995" y="238"/>
                  <a:pt x="17975" y="487"/>
                </a:cubicBezTo>
                <a:cubicBezTo>
                  <a:pt x="17952" y="745"/>
                  <a:pt x="18145" y="971"/>
                  <a:pt x="18406" y="995"/>
                </a:cubicBezTo>
                <a:lnTo>
                  <a:pt x="18441" y="995"/>
                </a:lnTo>
                <a:cubicBezTo>
                  <a:pt x="18684" y="995"/>
                  <a:pt x="18893" y="808"/>
                  <a:pt x="18914" y="564"/>
                </a:cubicBezTo>
                <a:cubicBezTo>
                  <a:pt x="18937" y="306"/>
                  <a:pt x="18743" y="77"/>
                  <a:pt x="18483" y="56"/>
                </a:cubicBezTo>
                <a:cubicBezTo>
                  <a:pt x="18469" y="54"/>
                  <a:pt x="18455" y="54"/>
                  <a:pt x="18442" y="54"/>
                </a:cubicBezTo>
                <a:close/>
                <a:moveTo>
                  <a:pt x="14666" y="164"/>
                </a:moveTo>
                <a:cubicBezTo>
                  <a:pt x="14644" y="164"/>
                  <a:pt x="14621" y="166"/>
                  <a:pt x="14598" y="169"/>
                </a:cubicBezTo>
                <a:cubicBezTo>
                  <a:pt x="14340" y="207"/>
                  <a:pt x="14161" y="444"/>
                  <a:pt x="14197" y="705"/>
                </a:cubicBezTo>
                <a:cubicBezTo>
                  <a:pt x="14234" y="937"/>
                  <a:pt x="14432" y="1107"/>
                  <a:pt x="14665" y="1107"/>
                </a:cubicBezTo>
                <a:cubicBezTo>
                  <a:pt x="14686" y="1107"/>
                  <a:pt x="14709" y="1104"/>
                  <a:pt x="14731" y="1103"/>
                </a:cubicBezTo>
                <a:cubicBezTo>
                  <a:pt x="14988" y="1065"/>
                  <a:pt x="15169" y="827"/>
                  <a:pt x="15131" y="570"/>
                </a:cubicBezTo>
                <a:cubicBezTo>
                  <a:pt x="15097" y="335"/>
                  <a:pt x="14896" y="164"/>
                  <a:pt x="14666" y="164"/>
                </a:cubicBezTo>
                <a:close/>
                <a:moveTo>
                  <a:pt x="20319" y="316"/>
                </a:moveTo>
                <a:cubicBezTo>
                  <a:pt x="20098" y="316"/>
                  <a:pt x="19901" y="472"/>
                  <a:pt x="19857" y="695"/>
                </a:cubicBezTo>
                <a:cubicBezTo>
                  <a:pt x="19807" y="950"/>
                  <a:pt x="19972" y="1200"/>
                  <a:pt x="20227" y="1252"/>
                </a:cubicBezTo>
                <a:lnTo>
                  <a:pt x="20227" y="1249"/>
                </a:lnTo>
                <a:cubicBezTo>
                  <a:pt x="20259" y="1255"/>
                  <a:pt x="20289" y="1259"/>
                  <a:pt x="20320" y="1259"/>
                </a:cubicBezTo>
                <a:cubicBezTo>
                  <a:pt x="20540" y="1259"/>
                  <a:pt x="20737" y="1103"/>
                  <a:pt x="20783" y="880"/>
                </a:cubicBezTo>
                <a:cubicBezTo>
                  <a:pt x="20831" y="625"/>
                  <a:pt x="20667" y="376"/>
                  <a:pt x="20412" y="326"/>
                </a:cubicBezTo>
                <a:cubicBezTo>
                  <a:pt x="20381" y="319"/>
                  <a:pt x="20350" y="316"/>
                  <a:pt x="20319" y="316"/>
                </a:cubicBezTo>
                <a:close/>
                <a:moveTo>
                  <a:pt x="12809" y="542"/>
                </a:moveTo>
                <a:cubicBezTo>
                  <a:pt x="12769" y="542"/>
                  <a:pt x="12728" y="547"/>
                  <a:pt x="12687" y="558"/>
                </a:cubicBezTo>
                <a:cubicBezTo>
                  <a:pt x="12435" y="625"/>
                  <a:pt x="12286" y="881"/>
                  <a:pt x="12353" y="1133"/>
                </a:cubicBezTo>
                <a:cubicBezTo>
                  <a:pt x="12408" y="1343"/>
                  <a:pt x="12597" y="1484"/>
                  <a:pt x="12808" y="1484"/>
                </a:cubicBezTo>
                <a:cubicBezTo>
                  <a:pt x="12848" y="1484"/>
                  <a:pt x="12889" y="1479"/>
                  <a:pt x="12928" y="1467"/>
                </a:cubicBezTo>
                <a:cubicBezTo>
                  <a:pt x="13180" y="1400"/>
                  <a:pt x="13332" y="1145"/>
                  <a:pt x="13265" y="892"/>
                </a:cubicBezTo>
                <a:cubicBezTo>
                  <a:pt x="13207" y="682"/>
                  <a:pt x="13017" y="542"/>
                  <a:pt x="12809" y="542"/>
                </a:cubicBezTo>
                <a:close/>
                <a:moveTo>
                  <a:pt x="22155" y="793"/>
                </a:moveTo>
                <a:cubicBezTo>
                  <a:pt x="21955" y="793"/>
                  <a:pt x="21769" y="921"/>
                  <a:pt x="21704" y="1120"/>
                </a:cubicBezTo>
                <a:cubicBezTo>
                  <a:pt x="21622" y="1367"/>
                  <a:pt x="21760" y="1634"/>
                  <a:pt x="22008" y="1714"/>
                </a:cubicBezTo>
                <a:cubicBezTo>
                  <a:pt x="22056" y="1730"/>
                  <a:pt x="22105" y="1737"/>
                  <a:pt x="22152" y="1739"/>
                </a:cubicBezTo>
                <a:cubicBezTo>
                  <a:pt x="22352" y="1739"/>
                  <a:pt x="22536" y="1611"/>
                  <a:pt x="22602" y="1411"/>
                </a:cubicBezTo>
                <a:cubicBezTo>
                  <a:pt x="22683" y="1164"/>
                  <a:pt x="22545" y="896"/>
                  <a:pt x="22299" y="816"/>
                </a:cubicBezTo>
                <a:cubicBezTo>
                  <a:pt x="22251" y="800"/>
                  <a:pt x="22202" y="793"/>
                  <a:pt x="22155" y="793"/>
                </a:cubicBezTo>
                <a:close/>
                <a:moveTo>
                  <a:pt x="11010" y="1129"/>
                </a:moveTo>
                <a:cubicBezTo>
                  <a:pt x="10952" y="1129"/>
                  <a:pt x="10894" y="1140"/>
                  <a:pt x="10837" y="1162"/>
                </a:cubicBezTo>
                <a:cubicBezTo>
                  <a:pt x="10594" y="1256"/>
                  <a:pt x="10473" y="1529"/>
                  <a:pt x="10568" y="1772"/>
                </a:cubicBezTo>
                <a:cubicBezTo>
                  <a:pt x="10643" y="1959"/>
                  <a:pt x="10819" y="2071"/>
                  <a:pt x="11007" y="2071"/>
                </a:cubicBezTo>
                <a:cubicBezTo>
                  <a:pt x="11065" y="2071"/>
                  <a:pt x="11122" y="2061"/>
                  <a:pt x="11178" y="2038"/>
                </a:cubicBezTo>
                <a:cubicBezTo>
                  <a:pt x="11421" y="1944"/>
                  <a:pt x="11543" y="1670"/>
                  <a:pt x="11449" y="1428"/>
                </a:cubicBezTo>
                <a:cubicBezTo>
                  <a:pt x="11374" y="1242"/>
                  <a:pt x="11197" y="1129"/>
                  <a:pt x="11010" y="1129"/>
                </a:cubicBezTo>
                <a:close/>
                <a:moveTo>
                  <a:pt x="23921" y="1478"/>
                </a:moveTo>
                <a:cubicBezTo>
                  <a:pt x="23743" y="1478"/>
                  <a:pt x="23571" y="1581"/>
                  <a:pt x="23492" y="1754"/>
                </a:cubicBezTo>
                <a:cubicBezTo>
                  <a:pt x="23384" y="1991"/>
                  <a:pt x="23487" y="2270"/>
                  <a:pt x="23726" y="2378"/>
                </a:cubicBezTo>
                <a:cubicBezTo>
                  <a:pt x="23789" y="2407"/>
                  <a:pt x="23855" y="2420"/>
                  <a:pt x="23920" y="2420"/>
                </a:cubicBezTo>
                <a:cubicBezTo>
                  <a:pt x="24097" y="2420"/>
                  <a:pt x="24269" y="2319"/>
                  <a:pt x="24349" y="2144"/>
                </a:cubicBezTo>
                <a:cubicBezTo>
                  <a:pt x="24457" y="1907"/>
                  <a:pt x="24351" y="1628"/>
                  <a:pt x="24116" y="1520"/>
                </a:cubicBezTo>
                <a:lnTo>
                  <a:pt x="24114" y="1520"/>
                </a:lnTo>
                <a:cubicBezTo>
                  <a:pt x="24052" y="1492"/>
                  <a:pt x="23986" y="1478"/>
                  <a:pt x="23921" y="1478"/>
                </a:cubicBezTo>
                <a:close/>
                <a:moveTo>
                  <a:pt x="9287" y="1920"/>
                </a:moveTo>
                <a:cubicBezTo>
                  <a:pt x="9212" y="1920"/>
                  <a:pt x="9136" y="1938"/>
                  <a:pt x="9066" y="1976"/>
                </a:cubicBezTo>
                <a:cubicBezTo>
                  <a:pt x="8833" y="2095"/>
                  <a:pt x="8747" y="2379"/>
                  <a:pt x="8870" y="2611"/>
                </a:cubicBezTo>
                <a:cubicBezTo>
                  <a:pt x="8955" y="2772"/>
                  <a:pt x="9119" y="2862"/>
                  <a:pt x="9287" y="2863"/>
                </a:cubicBezTo>
                <a:cubicBezTo>
                  <a:pt x="9362" y="2863"/>
                  <a:pt x="9438" y="2847"/>
                  <a:pt x="9507" y="2809"/>
                </a:cubicBezTo>
                <a:cubicBezTo>
                  <a:pt x="9740" y="2686"/>
                  <a:pt x="9826" y="2401"/>
                  <a:pt x="9703" y="2170"/>
                </a:cubicBezTo>
                <a:cubicBezTo>
                  <a:pt x="9618" y="2010"/>
                  <a:pt x="9455" y="1920"/>
                  <a:pt x="9287" y="1920"/>
                </a:cubicBezTo>
                <a:close/>
                <a:moveTo>
                  <a:pt x="25598" y="2359"/>
                </a:moveTo>
                <a:cubicBezTo>
                  <a:pt x="25438" y="2359"/>
                  <a:pt x="25282" y="2441"/>
                  <a:pt x="25193" y="2587"/>
                </a:cubicBezTo>
                <a:cubicBezTo>
                  <a:pt x="25058" y="2810"/>
                  <a:pt x="25131" y="3100"/>
                  <a:pt x="25353" y="3235"/>
                </a:cubicBezTo>
                <a:lnTo>
                  <a:pt x="25354" y="3235"/>
                </a:lnTo>
                <a:cubicBezTo>
                  <a:pt x="25430" y="3281"/>
                  <a:pt x="25512" y="3304"/>
                  <a:pt x="25595" y="3305"/>
                </a:cubicBezTo>
                <a:cubicBezTo>
                  <a:pt x="25756" y="3305"/>
                  <a:pt x="25914" y="3222"/>
                  <a:pt x="26002" y="3076"/>
                </a:cubicBezTo>
                <a:cubicBezTo>
                  <a:pt x="26136" y="2853"/>
                  <a:pt x="26064" y="2561"/>
                  <a:pt x="25843" y="2428"/>
                </a:cubicBezTo>
                <a:cubicBezTo>
                  <a:pt x="25766" y="2382"/>
                  <a:pt x="25681" y="2359"/>
                  <a:pt x="25598" y="2359"/>
                </a:cubicBezTo>
                <a:close/>
                <a:moveTo>
                  <a:pt x="7668" y="2899"/>
                </a:moveTo>
                <a:cubicBezTo>
                  <a:pt x="7575" y="2899"/>
                  <a:pt x="7482" y="2926"/>
                  <a:pt x="7399" y="2983"/>
                </a:cubicBezTo>
                <a:cubicBezTo>
                  <a:pt x="7185" y="3131"/>
                  <a:pt x="7132" y="3425"/>
                  <a:pt x="7281" y="3639"/>
                </a:cubicBezTo>
                <a:cubicBezTo>
                  <a:pt x="7371" y="3771"/>
                  <a:pt x="7515" y="3842"/>
                  <a:pt x="7665" y="3842"/>
                </a:cubicBezTo>
                <a:cubicBezTo>
                  <a:pt x="7666" y="3842"/>
                  <a:pt x="7668" y="3842"/>
                  <a:pt x="7669" y="3842"/>
                </a:cubicBezTo>
                <a:cubicBezTo>
                  <a:pt x="7760" y="3842"/>
                  <a:pt x="7851" y="3814"/>
                  <a:pt x="7935" y="3757"/>
                </a:cubicBezTo>
                <a:cubicBezTo>
                  <a:pt x="8149" y="3612"/>
                  <a:pt x="8204" y="3317"/>
                  <a:pt x="8058" y="3103"/>
                </a:cubicBezTo>
                <a:cubicBezTo>
                  <a:pt x="7965" y="2970"/>
                  <a:pt x="7818" y="2899"/>
                  <a:pt x="7668" y="2899"/>
                </a:cubicBezTo>
                <a:close/>
                <a:moveTo>
                  <a:pt x="27162" y="3429"/>
                </a:moveTo>
                <a:cubicBezTo>
                  <a:pt x="27020" y="3429"/>
                  <a:pt x="26879" y="3492"/>
                  <a:pt x="26787" y="3613"/>
                </a:cubicBezTo>
                <a:cubicBezTo>
                  <a:pt x="26628" y="3818"/>
                  <a:pt x="26667" y="4116"/>
                  <a:pt x="26872" y="4273"/>
                </a:cubicBezTo>
                <a:cubicBezTo>
                  <a:pt x="26958" y="4339"/>
                  <a:pt x="27057" y="4369"/>
                  <a:pt x="27152" y="4369"/>
                </a:cubicBezTo>
                <a:cubicBezTo>
                  <a:pt x="27154" y="4369"/>
                  <a:pt x="27156" y="4369"/>
                  <a:pt x="27159" y="4369"/>
                </a:cubicBezTo>
                <a:cubicBezTo>
                  <a:pt x="27301" y="4369"/>
                  <a:pt x="27440" y="4310"/>
                  <a:pt x="27535" y="4185"/>
                </a:cubicBezTo>
                <a:cubicBezTo>
                  <a:pt x="27692" y="3980"/>
                  <a:pt x="27654" y="3683"/>
                  <a:pt x="27447" y="3525"/>
                </a:cubicBezTo>
                <a:cubicBezTo>
                  <a:pt x="27362" y="3460"/>
                  <a:pt x="27262" y="3429"/>
                  <a:pt x="27162" y="3429"/>
                </a:cubicBezTo>
                <a:close/>
                <a:moveTo>
                  <a:pt x="6172" y="4059"/>
                </a:moveTo>
                <a:cubicBezTo>
                  <a:pt x="6062" y="4059"/>
                  <a:pt x="5951" y="4098"/>
                  <a:pt x="5862" y="4176"/>
                </a:cubicBezTo>
                <a:lnTo>
                  <a:pt x="5862" y="4175"/>
                </a:lnTo>
                <a:cubicBezTo>
                  <a:pt x="5664" y="4348"/>
                  <a:pt x="5643" y="4645"/>
                  <a:pt x="5816" y="4843"/>
                </a:cubicBezTo>
                <a:cubicBezTo>
                  <a:pt x="5907" y="4949"/>
                  <a:pt x="6039" y="5002"/>
                  <a:pt x="6173" y="5003"/>
                </a:cubicBezTo>
                <a:cubicBezTo>
                  <a:pt x="6281" y="5003"/>
                  <a:pt x="6393" y="4965"/>
                  <a:pt x="6481" y="4888"/>
                </a:cubicBezTo>
                <a:cubicBezTo>
                  <a:pt x="6677" y="4715"/>
                  <a:pt x="6699" y="4418"/>
                  <a:pt x="6526" y="4222"/>
                </a:cubicBezTo>
                <a:cubicBezTo>
                  <a:pt x="6434" y="4114"/>
                  <a:pt x="6303" y="4059"/>
                  <a:pt x="6172" y="4059"/>
                </a:cubicBezTo>
                <a:close/>
                <a:moveTo>
                  <a:pt x="28595" y="4666"/>
                </a:moveTo>
                <a:cubicBezTo>
                  <a:pt x="28472" y="4666"/>
                  <a:pt x="28349" y="4714"/>
                  <a:pt x="28258" y="4811"/>
                </a:cubicBezTo>
                <a:cubicBezTo>
                  <a:pt x="28076" y="4997"/>
                  <a:pt x="28082" y="5298"/>
                  <a:pt x="28267" y="5475"/>
                </a:cubicBezTo>
                <a:cubicBezTo>
                  <a:pt x="28358" y="5565"/>
                  <a:pt x="28476" y="5611"/>
                  <a:pt x="28593" y="5611"/>
                </a:cubicBezTo>
                <a:cubicBezTo>
                  <a:pt x="28716" y="5611"/>
                  <a:pt x="28842" y="5562"/>
                  <a:pt x="28933" y="5466"/>
                </a:cubicBezTo>
                <a:cubicBezTo>
                  <a:pt x="29115" y="5280"/>
                  <a:pt x="29109" y="4981"/>
                  <a:pt x="28921" y="4799"/>
                </a:cubicBezTo>
                <a:cubicBezTo>
                  <a:pt x="28831" y="4710"/>
                  <a:pt x="28713" y="4666"/>
                  <a:pt x="28595" y="4666"/>
                </a:cubicBezTo>
                <a:close/>
                <a:moveTo>
                  <a:pt x="4814" y="5381"/>
                </a:moveTo>
                <a:cubicBezTo>
                  <a:pt x="4686" y="5381"/>
                  <a:pt x="4559" y="5433"/>
                  <a:pt x="4467" y="5535"/>
                </a:cubicBezTo>
                <a:cubicBezTo>
                  <a:pt x="4291" y="5726"/>
                  <a:pt x="4303" y="6026"/>
                  <a:pt x="4496" y="6201"/>
                </a:cubicBezTo>
                <a:cubicBezTo>
                  <a:pt x="4584" y="6284"/>
                  <a:pt x="4701" y="6324"/>
                  <a:pt x="4813" y="6325"/>
                </a:cubicBezTo>
                <a:cubicBezTo>
                  <a:pt x="4940" y="6325"/>
                  <a:pt x="5068" y="6272"/>
                  <a:pt x="5164" y="6172"/>
                </a:cubicBezTo>
                <a:cubicBezTo>
                  <a:pt x="5338" y="5981"/>
                  <a:pt x="5326" y="5680"/>
                  <a:pt x="5133" y="5504"/>
                </a:cubicBezTo>
                <a:cubicBezTo>
                  <a:pt x="5042" y="5422"/>
                  <a:pt x="4928" y="5381"/>
                  <a:pt x="4814" y="5381"/>
                </a:cubicBezTo>
                <a:close/>
                <a:moveTo>
                  <a:pt x="29879" y="6062"/>
                </a:moveTo>
                <a:cubicBezTo>
                  <a:pt x="29774" y="6062"/>
                  <a:pt x="29668" y="6097"/>
                  <a:pt x="29580" y="6169"/>
                </a:cubicBezTo>
                <a:cubicBezTo>
                  <a:pt x="29376" y="6333"/>
                  <a:pt x="29349" y="6629"/>
                  <a:pt x="29513" y="6831"/>
                </a:cubicBezTo>
                <a:cubicBezTo>
                  <a:pt x="29608" y="6943"/>
                  <a:pt x="29744" y="7001"/>
                  <a:pt x="29877" y="7004"/>
                </a:cubicBezTo>
                <a:cubicBezTo>
                  <a:pt x="29982" y="7004"/>
                  <a:pt x="30088" y="6967"/>
                  <a:pt x="30178" y="6898"/>
                </a:cubicBezTo>
                <a:cubicBezTo>
                  <a:pt x="30378" y="6732"/>
                  <a:pt x="30407" y="6436"/>
                  <a:pt x="30241" y="6233"/>
                </a:cubicBezTo>
                <a:cubicBezTo>
                  <a:pt x="30149" y="6120"/>
                  <a:pt x="30015" y="6062"/>
                  <a:pt x="29879" y="6062"/>
                </a:cubicBezTo>
                <a:close/>
                <a:moveTo>
                  <a:pt x="3616" y="6848"/>
                </a:moveTo>
                <a:cubicBezTo>
                  <a:pt x="3470" y="6848"/>
                  <a:pt x="3326" y="6915"/>
                  <a:pt x="3233" y="7043"/>
                </a:cubicBezTo>
                <a:cubicBezTo>
                  <a:pt x="3080" y="7253"/>
                  <a:pt x="3127" y="7547"/>
                  <a:pt x="3339" y="7702"/>
                </a:cubicBezTo>
                <a:cubicBezTo>
                  <a:pt x="3417" y="7761"/>
                  <a:pt x="3509" y="7790"/>
                  <a:pt x="3603" y="7790"/>
                </a:cubicBezTo>
                <a:cubicBezTo>
                  <a:pt x="3608" y="7790"/>
                  <a:pt x="3612" y="7790"/>
                  <a:pt x="3617" y="7790"/>
                </a:cubicBezTo>
                <a:cubicBezTo>
                  <a:pt x="3763" y="7790"/>
                  <a:pt x="3907" y="7725"/>
                  <a:pt x="3998" y="7597"/>
                </a:cubicBezTo>
                <a:cubicBezTo>
                  <a:pt x="4150" y="7385"/>
                  <a:pt x="4104" y="7090"/>
                  <a:pt x="3893" y="6937"/>
                </a:cubicBezTo>
                <a:cubicBezTo>
                  <a:pt x="3809" y="6877"/>
                  <a:pt x="3712" y="6848"/>
                  <a:pt x="3616" y="6848"/>
                </a:cubicBezTo>
                <a:close/>
                <a:moveTo>
                  <a:pt x="30997" y="7588"/>
                </a:moveTo>
                <a:cubicBezTo>
                  <a:pt x="30909" y="7588"/>
                  <a:pt x="30820" y="7612"/>
                  <a:pt x="30741" y="7664"/>
                </a:cubicBezTo>
                <a:cubicBezTo>
                  <a:pt x="30521" y="7805"/>
                  <a:pt x="30457" y="8098"/>
                  <a:pt x="30598" y="8314"/>
                </a:cubicBezTo>
                <a:cubicBezTo>
                  <a:pt x="30688" y="8455"/>
                  <a:pt x="30838" y="8531"/>
                  <a:pt x="30994" y="8531"/>
                </a:cubicBezTo>
                <a:cubicBezTo>
                  <a:pt x="30996" y="8531"/>
                  <a:pt x="30997" y="8531"/>
                  <a:pt x="30999" y="8531"/>
                </a:cubicBezTo>
                <a:cubicBezTo>
                  <a:pt x="31087" y="8531"/>
                  <a:pt x="31173" y="8505"/>
                  <a:pt x="31254" y="8455"/>
                </a:cubicBezTo>
                <a:cubicBezTo>
                  <a:pt x="31471" y="8314"/>
                  <a:pt x="31534" y="8022"/>
                  <a:pt x="31392" y="7802"/>
                </a:cubicBezTo>
                <a:cubicBezTo>
                  <a:pt x="31301" y="7664"/>
                  <a:pt x="31151" y="7588"/>
                  <a:pt x="30997" y="7588"/>
                </a:cubicBezTo>
                <a:close/>
                <a:moveTo>
                  <a:pt x="2592" y="8445"/>
                </a:moveTo>
                <a:cubicBezTo>
                  <a:pt x="2429" y="8445"/>
                  <a:pt x="2269" y="8531"/>
                  <a:pt x="2183" y="8684"/>
                </a:cubicBezTo>
                <a:cubicBezTo>
                  <a:pt x="2052" y="8910"/>
                  <a:pt x="2133" y="9198"/>
                  <a:pt x="2359" y="9327"/>
                </a:cubicBezTo>
                <a:cubicBezTo>
                  <a:pt x="2432" y="9367"/>
                  <a:pt x="2512" y="9387"/>
                  <a:pt x="2591" y="9387"/>
                </a:cubicBezTo>
                <a:cubicBezTo>
                  <a:pt x="2755" y="9387"/>
                  <a:pt x="2914" y="9303"/>
                  <a:pt x="3002" y="9148"/>
                </a:cubicBezTo>
                <a:lnTo>
                  <a:pt x="3002" y="9147"/>
                </a:lnTo>
                <a:cubicBezTo>
                  <a:pt x="3131" y="8921"/>
                  <a:pt x="3049" y="8632"/>
                  <a:pt x="2823" y="8506"/>
                </a:cubicBezTo>
                <a:cubicBezTo>
                  <a:pt x="2750" y="8465"/>
                  <a:pt x="2671" y="8445"/>
                  <a:pt x="2592" y="8445"/>
                </a:cubicBezTo>
                <a:close/>
                <a:moveTo>
                  <a:pt x="31931" y="9234"/>
                </a:moveTo>
                <a:cubicBezTo>
                  <a:pt x="31860" y="9234"/>
                  <a:pt x="31789" y="9250"/>
                  <a:pt x="31721" y="9283"/>
                </a:cubicBezTo>
                <a:cubicBezTo>
                  <a:pt x="31489" y="9399"/>
                  <a:pt x="31393" y="9683"/>
                  <a:pt x="31509" y="9915"/>
                </a:cubicBezTo>
                <a:cubicBezTo>
                  <a:pt x="31591" y="10080"/>
                  <a:pt x="31758" y="10177"/>
                  <a:pt x="31931" y="10177"/>
                </a:cubicBezTo>
                <a:cubicBezTo>
                  <a:pt x="32002" y="10177"/>
                  <a:pt x="32073" y="10161"/>
                  <a:pt x="32142" y="10127"/>
                </a:cubicBezTo>
                <a:cubicBezTo>
                  <a:pt x="32374" y="10012"/>
                  <a:pt x="32469" y="9731"/>
                  <a:pt x="32354" y="9497"/>
                </a:cubicBezTo>
                <a:lnTo>
                  <a:pt x="32354" y="9496"/>
                </a:lnTo>
                <a:cubicBezTo>
                  <a:pt x="32271" y="9330"/>
                  <a:pt x="32104" y="9234"/>
                  <a:pt x="31931" y="9234"/>
                </a:cubicBezTo>
                <a:close/>
                <a:moveTo>
                  <a:pt x="1758" y="10142"/>
                </a:moveTo>
                <a:cubicBezTo>
                  <a:pt x="1573" y="10142"/>
                  <a:pt x="1397" y="10251"/>
                  <a:pt x="1321" y="10431"/>
                </a:cubicBezTo>
                <a:cubicBezTo>
                  <a:pt x="1220" y="10672"/>
                  <a:pt x="1333" y="10950"/>
                  <a:pt x="1574" y="11050"/>
                </a:cubicBezTo>
                <a:cubicBezTo>
                  <a:pt x="1632" y="11076"/>
                  <a:pt x="1697" y="11088"/>
                  <a:pt x="1758" y="11088"/>
                </a:cubicBezTo>
                <a:cubicBezTo>
                  <a:pt x="1941" y="11088"/>
                  <a:pt x="2116" y="10980"/>
                  <a:pt x="2192" y="10798"/>
                </a:cubicBezTo>
                <a:cubicBezTo>
                  <a:pt x="2292" y="10558"/>
                  <a:pt x="2181" y="10279"/>
                  <a:pt x="1940" y="10179"/>
                </a:cubicBezTo>
                <a:cubicBezTo>
                  <a:pt x="1880" y="10154"/>
                  <a:pt x="1819" y="10142"/>
                  <a:pt x="1758" y="10142"/>
                </a:cubicBezTo>
                <a:close/>
                <a:moveTo>
                  <a:pt x="32672" y="10978"/>
                </a:moveTo>
                <a:cubicBezTo>
                  <a:pt x="32619" y="10978"/>
                  <a:pt x="32566" y="10987"/>
                  <a:pt x="32513" y="11006"/>
                </a:cubicBezTo>
                <a:cubicBezTo>
                  <a:pt x="32268" y="11094"/>
                  <a:pt x="32142" y="11364"/>
                  <a:pt x="32228" y="11610"/>
                </a:cubicBezTo>
                <a:cubicBezTo>
                  <a:pt x="32297" y="11799"/>
                  <a:pt x="32475" y="11920"/>
                  <a:pt x="32666" y="11920"/>
                </a:cubicBezTo>
                <a:cubicBezTo>
                  <a:pt x="32667" y="11920"/>
                  <a:pt x="32669" y="11920"/>
                  <a:pt x="32670" y="11920"/>
                </a:cubicBezTo>
                <a:cubicBezTo>
                  <a:pt x="32726" y="11920"/>
                  <a:pt x="32781" y="11911"/>
                  <a:pt x="32832" y="11892"/>
                </a:cubicBezTo>
                <a:cubicBezTo>
                  <a:pt x="33076" y="11804"/>
                  <a:pt x="33204" y="11536"/>
                  <a:pt x="33116" y="11291"/>
                </a:cubicBezTo>
                <a:cubicBezTo>
                  <a:pt x="33046" y="11098"/>
                  <a:pt x="32865" y="10978"/>
                  <a:pt x="32672" y="10978"/>
                </a:cubicBezTo>
                <a:close/>
                <a:moveTo>
                  <a:pt x="1122" y="11930"/>
                </a:moveTo>
                <a:cubicBezTo>
                  <a:pt x="920" y="11930"/>
                  <a:pt x="731" y="12064"/>
                  <a:pt x="668" y="12270"/>
                </a:cubicBezTo>
                <a:cubicBezTo>
                  <a:pt x="598" y="12521"/>
                  <a:pt x="738" y="12780"/>
                  <a:pt x="988" y="12855"/>
                </a:cubicBezTo>
                <a:cubicBezTo>
                  <a:pt x="1032" y="12865"/>
                  <a:pt x="1078" y="12873"/>
                  <a:pt x="1120" y="12873"/>
                </a:cubicBezTo>
                <a:cubicBezTo>
                  <a:pt x="1325" y="12873"/>
                  <a:pt x="1515" y="12738"/>
                  <a:pt x="1576" y="12533"/>
                </a:cubicBezTo>
                <a:cubicBezTo>
                  <a:pt x="1647" y="12283"/>
                  <a:pt x="1504" y="12021"/>
                  <a:pt x="1252" y="11949"/>
                </a:cubicBezTo>
                <a:cubicBezTo>
                  <a:pt x="1209" y="11936"/>
                  <a:pt x="1165" y="11930"/>
                  <a:pt x="1122" y="11930"/>
                </a:cubicBezTo>
                <a:close/>
                <a:moveTo>
                  <a:pt x="33206" y="12794"/>
                </a:moveTo>
                <a:cubicBezTo>
                  <a:pt x="33171" y="12794"/>
                  <a:pt x="33136" y="12798"/>
                  <a:pt x="33101" y="12806"/>
                </a:cubicBezTo>
                <a:cubicBezTo>
                  <a:pt x="32847" y="12865"/>
                  <a:pt x="32689" y="13120"/>
                  <a:pt x="32749" y="13372"/>
                </a:cubicBezTo>
                <a:cubicBezTo>
                  <a:pt x="32802" y="13591"/>
                  <a:pt x="32995" y="13738"/>
                  <a:pt x="33207" y="13738"/>
                </a:cubicBezTo>
                <a:cubicBezTo>
                  <a:pt x="33242" y="13738"/>
                  <a:pt x="33277" y="13732"/>
                  <a:pt x="33315" y="13723"/>
                </a:cubicBezTo>
                <a:cubicBezTo>
                  <a:pt x="33568" y="13664"/>
                  <a:pt x="33725" y="13412"/>
                  <a:pt x="33667" y="13158"/>
                </a:cubicBezTo>
                <a:cubicBezTo>
                  <a:pt x="33616" y="12940"/>
                  <a:pt x="33420" y="12794"/>
                  <a:pt x="33206" y="12794"/>
                </a:cubicBezTo>
                <a:close/>
                <a:moveTo>
                  <a:pt x="698" y="13774"/>
                </a:moveTo>
                <a:cubicBezTo>
                  <a:pt x="473" y="13774"/>
                  <a:pt x="273" y="13936"/>
                  <a:pt x="232" y="14168"/>
                </a:cubicBezTo>
                <a:cubicBezTo>
                  <a:pt x="190" y="14423"/>
                  <a:pt x="363" y="14665"/>
                  <a:pt x="619" y="14711"/>
                </a:cubicBezTo>
                <a:cubicBezTo>
                  <a:pt x="644" y="14717"/>
                  <a:pt x="671" y="14719"/>
                  <a:pt x="697" y="14719"/>
                </a:cubicBezTo>
                <a:cubicBezTo>
                  <a:pt x="923" y="14719"/>
                  <a:pt x="1123" y="14556"/>
                  <a:pt x="1161" y="14324"/>
                </a:cubicBezTo>
                <a:cubicBezTo>
                  <a:pt x="1205" y="14069"/>
                  <a:pt x="1034" y="13826"/>
                  <a:pt x="776" y="13781"/>
                </a:cubicBezTo>
                <a:cubicBezTo>
                  <a:pt x="750" y="13776"/>
                  <a:pt x="724" y="13774"/>
                  <a:pt x="698" y="13774"/>
                </a:cubicBezTo>
                <a:close/>
                <a:moveTo>
                  <a:pt x="33534" y="14659"/>
                </a:moveTo>
                <a:cubicBezTo>
                  <a:pt x="33516" y="14659"/>
                  <a:pt x="33498" y="14660"/>
                  <a:pt x="33480" y="14662"/>
                </a:cubicBezTo>
                <a:cubicBezTo>
                  <a:pt x="33221" y="14693"/>
                  <a:pt x="33034" y="14926"/>
                  <a:pt x="33064" y="15186"/>
                </a:cubicBezTo>
                <a:cubicBezTo>
                  <a:pt x="33093" y="15427"/>
                  <a:pt x="33297" y="15603"/>
                  <a:pt x="33535" y="15605"/>
                </a:cubicBezTo>
                <a:cubicBezTo>
                  <a:pt x="33553" y="15605"/>
                  <a:pt x="33571" y="15600"/>
                  <a:pt x="33591" y="15599"/>
                </a:cubicBezTo>
                <a:cubicBezTo>
                  <a:pt x="33849" y="15570"/>
                  <a:pt x="34033" y="15338"/>
                  <a:pt x="34002" y="15077"/>
                </a:cubicBezTo>
                <a:cubicBezTo>
                  <a:pt x="33975" y="14835"/>
                  <a:pt x="33771" y="14659"/>
                  <a:pt x="33534" y="14659"/>
                </a:cubicBezTo>
                <a:close/>
                <a:moveTo>
                  <a:pt x="483" y="15657"/>
                </a:moveTo>
                <a:cubicBezTo>
                  <a:pt x="235" y="15657"/>
                  <a:pt x="27" y="15850"/>
                  <a:pt x="14" y="16104"/>
                </a:cubicBezTo>
                <a:cubicBezTo>
                  <a:pt x="0" y="16364"/>
                  <a:pt x="197" y="16584"/>
                  <a:pt x="457" y="16601"/>
                </a:cubicBezTo>
                <a:lnTo>
                  <a:pt x="483" y="16601"/>
                </a:lnTo>
                <a:cubicBezTo>
                  <a:pt x="733" y="16601"/>
                  <a:pt x="941" y="16406"/>
                  <a:pt x="955" y="16156"/>
                </a:cubicBezTo>
                <a:cubicBezTo>
                  <a:pt x="968" y="15898"/>
                  <a:pt x="771" y="15673"/>
                  <a:pt x="509" y="15658"/>
                </a:cubicBezTo>
                <a:cubicBezTo>
                  <a:pt x="500" y="15658"/>
                  <a:pt x="492" y="15657"/>
                  <a:pt x="483" y="15657"/>
                </a:cubicBezTo>
                <a:close/>
                <a:moveTo>
                  <a:pt x="33641" y="16550"/>
                </a:moveTo>
                <a:cubicBezTo>
                  <a:pt x="33383" y="16550"/>
                  <a:pt x="33171" y="16763"/>
                  <a:pt x="33174" y="17022"/>
                </a:cubicBezTo>
                <a:lnTo>
                  <a:pt x="33174" y="17039"/>
                </a:lnTo>
                <a:lnTo>
                  <a:pt x="33174" y="17059"/>
                </a:lnTo>
                <a:cubicBezTo>
                  <a:pt x="33174" y="17317"/>
                  <a:pt x="33383" y="17529"/>
                  <a:pt x="33644" y="17531"/>
                </a:cubicBezTo>
                <a:cubicBezTo>
                  <a:pt x="33904" y="17531"/>
                  <a:pt x="34116" y="17318"/>
                  <a:pt x="34116" y="17059"/>
                </a:cubicBezTo>
                <a:lnTo>
                  <a:pt x="34116" y="17039"/>
                </a:lnTo>
                <a:lnTo>
                  <a:pt x="34116" y="17022"/>
                </a:lnTo>
                <a:cubicBezTo>
                  <a:pt x="34115" y="16760"/>
                  <a:pt x="33904" y="16550"/>
                  <a:pt x="33641" y="16550"/>
                </a:cubicBezTo>
                <a:close/>
                <a:moveTo>
                  <a:pt x="485" y="17551"/>
                </a:moveTo>
                <a:cubicBezTo>
                  <a:pt x="477" y="17551"/>
                  <a:pt x="469" y="17552"/>
                  <a:pt x="460" y="17552"/>
                </a:cubicBezTo>
                <a:cubicBezTo>
                  <a:pt x="197" y="17567"/>
                  <a:pt x="0" y="17789"/>
                  <a:pt x="14" y="18050"/>
                </a:cubicBezTo>
                <a:lnTo>
                  <a:pt x="14" y="18050"/>
                </a:lnTo>
                <a:lnTo>
                  <a:pt x="14" y="18048"/>
                </a:lnTo>
                <a:cubicBezTo>
                  <a:pt x="31" y="18300"/>
                  <a:pt x="240" y="18495"/>
                  <a:pt x="484" y="18495"/>
                </a:cubicBezTo>
                <a:lnTo>
                  <a:pt x="513" y="18495"/>
                </a:lnTo>
                <a:cubicBezTo>
                  <a:pt x="773" y="18479"/>
                  <a:pt x="970" y="18258"/>
                  <a:pt x="956" y="17997"/>
                </a:cubicBezTo>
                <a:cubicBezTo>
                  <a:pt x="942" y="17744"/>
                  <a:pt x="734" y="17551"/>
                  <a:pt x="485" y="17551"/>
                </a:cubicBezTo>
                <a:close/>
                <a:moveTo>
                  <a:pt x="33537" y="18477"/>
                </a:moveTo>
                <a:cubicBezTo>
                  <a:pt x="33299" y="18477"/>
                  <a:pt x="33096" y="18652"/>
                  <a:pt x="33069" y="18895"/>
                </a:cubicBezTo>
                <a:cubicBezTo>
                  <a:pt x="33039" y="19155"/>
                  <a:pt x="33224" y="19389"/>
                  <a:pt x="33485" y="19416"/>
                </a:cubicBezTo>
                <a:cubicBezTo>
                  <a:pt x="33503" y="19419"/>
                  <a:pt x="33520" y="19420"/>
                  <a:pt x="33539" y="19420"/>
                </a:cubicBezTo>
                <a:cubicBezTo>
                  <a:pt x="33775" y="19420"/>
                  <a:pt x="33980" y="19241"/>
                  <a:pt x="34005" y="19002"/>
                </a:cubicBezTo>
                <a:cubicBezTo>
                  <a:pt x="34036" y="18744"/>
                  <a:pt x="33851" y="18508"/>
                  <a:pt x="33591" y="18479"/>
                </a:cubicBezTo>
                <a:cubicBezTo>
                  <a:pt x="33573" y="18477"/>
                  <a:pt x="33555" y="18477"/>
                  <a:pt x="33537" y="18477"/>
                </a:cubicBezTo>
                <a:close/>
                <a:moveTo>
                  <a:pt x="706" y="19431"/>
                </a:moveTo>
                <a:cubicBezTo>
                  <a:pt x="679" y="19431"/>
                  <a:pt x="652" y="19434"/>
                  <a:pt x="624" y="19439"/>
                </a:cubicBezTo>
                <a:cubicBezTo>
                  <a:pt x="367" y="19484"/>
                  <a:pt x="194" y="19727"/>
                  <a:pt x="240" y="19984"/>
                </a:cubicBezTo>
                <a:cubicBezTo>
                  <a:pt x="276" y="20213"/>
                  <a:pt x="477" y="20375"/>
                  <a:pt x="704" y="20377"/>
                </a:cubicBezTo>
                <a:cubicBezTo>
                  <a:pt x="729" y="20377"/>
                  <a:pt x="756" y="20372"/>
                  <a:pt x="785" y="20369"/>
                </a:cubicBezTo>
                <a:cubicBezTo>
                  <a:pt x="1041" y="20324"/>
                  <a:pt x="1214" y="20082"/>
                  <a:pt x="1169" y="19824"/>
                </a:cubicBezTo>
                <a:cubicBezTo>
                  <a:pt x="1128" y="19594"/>
                  <a:pt x="930" y="19431"/>
                  <a:pt x="706" y="19431"/>
                </a:cubicBezTo>
                <a:close/>
                <a:moveTo>
                  <a:pt x="33216" y="20345"/>
                </a:moveTo>
                <a:cubicBezTo>
                  <a:pt x="33002" y="20345"/>
                  <a:pt x="32809" y="20491"/>
                  <a:pt x="32758" y="20709"/>
                </a:cubicBezTo>
                <a:cubicBezTo>
                  <a:pt x="32699" y="20963"/>
                  <a:pt x="32856" y="21214"/>
                  <a:pt x="33108" y="21274"/>
                </a:cubicBezTo>
                <a:cubicBezTo>
                  <a:pt x="33146" y="21283"/>
                  <a:pt x="33183" y="21286"/>
                  <a:pt x="33216" y="21286"/>
                </a:cubicBezTo>
                <a:cubicBezTo>
                  <a:pt x="33432" y="21286"/>
                  <a:pt x="33624" y="21139"/>
                  <a:pt x="33674" y="20923"/>
                </a:cubicBezTo>
                <a:cubicBezTo>
                  <a:pt x="33732" y="20668"/>
                  <a:pt x="33576" y="20415"/>
                  <a:pt x="33322" y="20357"/>
                </a:cubicBezTo>
                <a:cubicBezTo>
                  <a:pt x="33287" y="20349"/>
                  <a:pt x="33251" y="20345"/>
                  <a:pt x="33216" y="20345"/>
                </a:cubicBezTo>
                <a:close/>
                <a:moveTo>
                  <a:pt x="1135" y="21278"/>
                </a:moveTo>
                <a:cubicBezTo>
                  <a:pt x="1090" y="21278"/>
                  <a:pt x="1044" y="21284"/>
                  <a:pt x="999" y="21298"/>
                </a:cubicBezTo>
                <a:cubicBezTo>
                  <a:pt x="748" y="21371"/>
                  <a:pt x="606" y="21632"/>
                  <a:pt x="680" y="21882"/>
                </a:cubicBezTo>
                <a:cubicBezTo>
                  <a:pt x="741" y="22087"/>
                  <a:pt x="926" y="22219"/>
                  <a:pt x="1131" y="22221"/>
                </a:cubicBezTo>
                <a:cubicBezTo>
                  <a:pt x="1175" y="22221"/>
                  <a:pt x="1219" y="22216"/>
                  <a:pt x="1264" y="22201"/>
                </a:cubicBezTo>
                <a:cubicBezTo>
                  <a:pt x="1515" y="22130"/>
                  <a:pt x="1659" y="21867"/>
                  <a:pt x="1585" y="21617"/>
                </a:cubicBezTo>
                <a:cubicBezTo>
                  <a:pt x="1524" y="21412"/>
                  <a:pt x="1338" y="21278"/>
                  <a:pt x="1135" y="21278"/>
                </a:cubicBezTo>
                <a:close/>
                <a:moveTo>
                  <a:pt x="32684" y="22162"/>
                </a:moveTo>
                <a:cubicBezTo>
                  <a:pt x="32490" y="22162"/>
                  <a:pt x="32308" y="22282"/>
                  <a:pt x="32240" y="22474"/>
                </a:cubicBezTo>
                <a:cubicBezTo>
                  <a:pt x="32152" y="22722"/>
                  <a:pt x="32280" y="22990"/>
                  <a:pt x="32524" y="23078"/>
                </a:cubicBezTo>
                <a:cubicBezTo>
                  <a:pt x="32579" y="23095"/>
                  <a:pt x="32630" y="23104"/>
                  <a:pt x="32683" y="23107"/>
                </a:cubicBezTo>
                <a:cubicBezTo>
                  <a:pt x="32878" y="23107"/>
                  <a:pt x="33060" y="22987"/>
                  <a:pt x="33128" y="22793"/>
                </a:cubicBezTo>
                <a:cubicBezTo>
                  <a:pt x="33215" y="22549"/>
                  <a:pt x="33087" y="22277"/>
                  <a:pt x="32843" y="22190"/>
                </a:cubicBezTo>
                <a:cubicBezTo>
                  <a:pt x="32790" y="22171"/>
                  <a:pt x="32737" y="22162"/>
                  <a:pt x="32684" y="22162"/>
                </a:cubicBezTo>
                <a:close/>
                <a:moveTo>
                  <a:pt x="1767" y="23059"/>
                </a:moveTo>
                <a:cubicBezTo>
                  <a:pt x="1706" y="23059"/>
                  <a:pt x="1644" y="23071"/>
                  <a:pt x="1585" y="23095"/>
                </a:cubicBezTo>
                <a:cubicBezTo>
                  <a:pt x="1345" y="23200"/>
                  <a:pt x="1234" y="23474"/>
                  <a:pt x="1334" y="23716"/>
                </a:cubicBezTo>
                <a:cubicBezTo>
                  <a:pt x="1412" y="23896"/>
                  <a:pt x="1586" y="24004"/>
                  <a:pt x="1768" y="24004"/>
                </a:cubicBezTo>
                <a:cubicBezTo>
                  <a:pt x="1829" y="24004"/>
                  <a:pt x="1894" y="23992"/>
                  <a:pt x="1953" y="23966"/>
                </a:cubicBezTo>
                <a:cubicBezTo>
                  <a:pt x="2193" y="23863"/>
                  <a:pt x="2306" y="23585"/>
                  <a:pt x="2205" y="23347"/>
                </a:cubicBezTo>
                <a:cubicBezTo>
                  <a:pt x="2127" y="23166"/>
                  <a:pt x="1951" y="23059"/>
                  <a:pt x="1767" y="23059"/>
                </a:cubicBezTo>
                <a:close/>
                <a:moveTo>
                  <a:pt x="31947" y="23906"/>
                </a:moveTo>
                <a:cubicBezTo>
                  <a:pt x="31773" y="23906"/>
                  <a:pt x="31605" y="24003"/>
                  <a:pt x="31522" y="24170"/>
                </a:cubicBezTo>
                <a:cubicBezTo>
                  <a:pt x="31407" y="24405"/>
                  <a:pt x="31504" y="24686"/>
                  <a:pt x="31736" y="24801"/>
                </a:cubicBezTo>
                <a:cubicBezTo>
                  <a:pt x="31805" y="24833"/>
                  <a:pt x="31876" y="24849"/>
                  <a:pt x="31944" y="24849"/>
                </a:cubicBezTo>
                <a:cubicBezTo>
                  <a:pt x="32119" y="24849"/>
                  <a:pt x="32286" y="24754"/>
                  <a:pt x="32369" y="24587"/>
                </a:cubicBezTo>
                <a:cubicBezTo>
                  <a:pt x="32485" y="24353"/>
                  <a:pt x="32387" y="24071"/>
                  <a:pt x="32154" y="23954"/>
                </a:cubicBezTo>
                <a:cubicBezTo>
                  <a:pt x="32087" y="23921"/>
                  <a:pt x="32017" y="23906"/>
                  <a:pt x="31947" y="23906"/>
                </a:cubicBezTo>
                <a:close/>
                <a:moveTo>
                  <a:pt x="2606" y="24757"/>
                </a:moveTo>
                <a:cubicBezTo>
                  <a:pt x="2527" y="24757"/>
                  <a:pt x="2447" y="24777"/>
                  <a:pt x="2374" y="24819"/>
                </a:cubicBezTo>
                <a:cubicBezTo>
                  <a:pt x="2148" y="24947"/>
                  <a:pt x="2069" y="25235"/>
                  <a:pt x="2198" y="25461"/>
                </a:cubicBezTo>
                <a:cubicBezTo>
                  <a:pt x="2284" y="25614"/>
                  <a:pt x="2444" y="25702"/>
                  <a:pt x="2608" y="25702"/>
                </a:cubicBezTo>
                <a:cubicBezTo>
                  <a:pt x="2685" y="25702"/>
                  <a:pt x="2765" y="25680"/>
                  <a:pt x="2841" y="25637"/>
                </a:cubicBezTo>
                <a:cubicBezTo>
                  <a:pt x="3064" y="25510"/>
                  <a:pt x="3145" y="25221"/>
                  <a:pt x="3017" y="24997"/>
                </a:cubicBezTo>
                <a:cubicBezTo>
                  <a:pt x="2930" y="24844"/>
                  <a:pt x="2770" y="24757"/>
                  <a:pt x="2606" y="24757"/>
                </a:cubicBezTo>
                <a:close/>
                <a:moveTo>
                  <a:pt x="31013" y="25555"/>
                </a:moveTo>
                <a:cubicBezTo>
                  <a:pt x="30857" y="25555"/>
                  <a:pt x="30706" y="25631"/>
                  <a:pt x="30618" y="25772"/>
                </a:cubicBezTo>
                <a:cubicBezTo>
                  <a:pt x="30475" y="25992"/>
                  <a:pt x="30536" y="26281"/>
                  <a:pt x="30756" y="26423"/>
                </a:cubicBezTo>
                <a:cubicBezTo>
                  <a:pt x="30832" y="26471"/>
                  <a:pt x="30914" y="26496"/>
                  <a:pt x="30998" y="26496"/>
                </a:cubicBezTo>
                <a:cubicBezTo>
                  <a:pt x="31003" y="26496"/>
                  <a:pt x="31008" y="26496"/>
                  <a:pt x="31012" y="26496"/>
                </a:cubicBezTo>
                <a:cubicBezTo>
                  <a:pt x="31167" y="26496"/>
                  <a:pt x="31322" y="26423"/>
                  <a:pt x="31410" y="26281"/>
                </a:cubicBezTo>
                <a:cubicBezTo>
                  <a:pt x="31551" y="26064"/>
                  <a:pt x="31489" y="25772"/>
                  <a:pt x="31269" y="25630"/>
                </a:cubicBezTo>
                <a:cubicBezTo>
                  <a:pt x="31189" y="25579"/>
                  <a:pt x="31100" y="25555"/>
                  <a:pt x="31013" y="25555"/>
                </a:cubicBezTo>
                <a:close/>
                <a:moveTo>
                  <a:pt x="3633" y="26349"/>
                </a:moveTo>
                <a:cubicBezTo>
                  <a:pt x="3537" y="26349"/>
                  <a:pt x="3439" y="26379"/>
                  <a:pt x="3354" y="26440"/>
                </a:cubicBezTo>
                <a:cubicBezTo>
                  <a:pt x="3146" y="26593"/>
                  <a:pt x="3101" y="26888"/>
                  <a:pt x="3254" y="27099"/>
                </a:cubicBezTo>
                <a:cubicBezTo>
                  <a:pt x="3347" y="27225"/>
                  <a:pt x="3489" y="27290"/>
                  <a:pt x="3632" y="27292"/>
                </a:cubicBezTo>
                <a:cubicBezTo>
                  <a:pt x="3729" y="27292"/>
                  <a:pt x="3825" y="27263"/>
                  <a:pt x="3911" y="27202"/>
                </a:cubicBezTo>
                <a:cubicBezTo>
                  <a:pt x="4121" y="27049"/>
                  <a:pt x="4168" y="26754"/>
                  <a:pt x="4015" y="26545"/>
                </a:cubicBezTo>
                <a:cubicBezTo>
                  <a:pt x="3922" y="26417"/>
                  <a:pt x="3779" y="26349"/>
                  <a:pt x="3633" y="26349"/>
                </a:cubicBezTo>
                <a:close/>
                <a:moveTo>
                  <a:pt x="29899" y="27086"/>
                </a:moveTo>
                <a:cubicBezTo>
                  <a:pt x="29762" y="27086"/>
                  <a:pt x="29626" y="27145"/>
                  <a:pt x="29533" y="27260"/>
                </a:cubicBezTo>
                <a:cubicBezTo>
                  <a:pt x="29367" y="27463"/>
                  <a:pt x="29397" y="27760"/>
                  <a:pt x="29599" y="27926"/>
                </a:cubicBezTo>
                <a:cubicBezTo>
                  <a:pt x="29684" y="27993"/>
                  <a:pt x="29785" y="28029"/>
                  <a:pt x="29886" y="28029"/>
                </a:cubicBezTo>
                <a:cubicBezTo>
                  <a:pt x="29890" y="28029"/>
                  <a:pt x="29894" y="28029"/>
                  <a:pt x="29898" y="28029"/>
                </a:cubicBezTo>
                <a:cubicBezTo>
                  <a:pt x="30035" y="28029"/>
                  <a:pt x="30170" y="27970"/>
                  <a:pt x="30264" y="27856"/>
                </a:cubicBezTo>
                <a:cubicBezTo>
                  <a:pt x="30430" y="27656"/>
                  <a:pt x="30399" y="27358"/>
                  <a:pt x="30199" y="27193"/>
                </a:cubicBezTo>
                <a:cubicBezTo>
                  <a:pt x="30111" y="27121"/>
                  <a:pt x="30004" y="27086"/>
                  <a:pt x="29899" y="27086"/>
                </a:cubicBezTo>
                <a:close/>
                <a:moveTo>
                  <a:pt x="4834" y="27814"/>
                </a:moveTo>
                <a:cubicBezTo>
                  <a:pt x="4720" y="27814"/>
                  <a:pt x="4606" y="27854"/>
                  <a:pt x="4515" y="27937"/>
                </a:cubicBezTo>
                <a:cubicBezTo>
                  <a:pt x="4324" y="28113"/>
                  <a:pt x="4311" y="28413"/>
                  <a:pt x="4488" y="28604"/>
                </a:cubicBezTo>
                <a:cubicBezTo>
                  <a:pt x="4582" y="28705"/>
                  <a:pt x="4708" y="28758"/>
                  <a:pt x="4833" y="28758"/>
                </a:cubicBezTo>
                <a:cubicBezTo>
                  <a:pt x="4948" y="28758"/>
                  <a:pt x="5062" y="28715"/>
                  <a:pt x="5153" y="28633"/>
                </a:cubicBezTo>
                <a:cubicBezTo>
                  <a:pt x="5346" y="28454"/>
                  <a:pt x="5356" y="28158"/>
                  <a:pt x="5180" y="27967"/>
                </a:cubicBezTo>
                <a:cubicBezTo>
                  <a:pt x="5088" y="27865"/>
                  <a:pt x="4961" y="27814"/>
                  <a:pt x="4834" y="27814"/>
                </a:cubicBezTo>
                <a:close/>
                <a:moveTo>
                  <a:pt x="28617" y="28483"/>
                </a:moveTo>
                <a:cubicBezTo>
                  <a:pt x="28499" y="28483"/>
                  <a:pt x="28380" y="28527"/>
                  <a:pt x="28288" y="28616"/>
                </a:cubicBezTo>
                <a:cubicBezTo>
                  <a:pt x="28101" y="28799"/>
                  <a:pt x="28097" y="29098"/>
                  <a:pt x="28279" y="29284"/>
                </a:cubicBezTo>
                <a:cubicBezTo>
                  <a:pt x="28373" y="29377"/>
                  <a:pt x="28494" y="29425"/>
                  <a:pt x="28617" y="29428"/>
                </a:cubicBezTo>
                <a:cubicBezTo>
                  <a:pt x="28736" y="29428"/>
                  <a:pt x="28854" y="29383"/>
                  <a:pt x="28947" y="29293"/>
                </a:cubicBezTo>
                <a:cubicBezTo>
                  <a:pt x="29132" y="29111"/>
                  <a:pt x="29138" y="28811"/>
                  <a:pt x="28956" y="28626"/>
                </a:cubicBezTo>
                <a:cubicBezTo>
                  <a:pt x="28863" y="28531"/>
                  <a:pt x="28740" y="28483"/>
                  <a:pt x="28617" y="28483"/>
                </a:cubicBezTo>
                <a:close/>
                <a:moveTo>
                  <a:pt x="6193" y="29134"/>
                </a:moveTo>
                <a:cubicBezTo>
                  <a:pt x="6061" y="29134"/>
                  <a:pt x="5931" y="29188"/>
                  <a:pt x="5839" y="29295"/>
                </a:cubicBezTo>
                <a:cubicBezTo>
                  <a:pt x="5666" y="29494"/>
                  <a:pt x="5689" y="29790"/>
                  <a:pt x="5886" y="29963"/>
                </a:cubicBezTo>
                <a:cubicBezTo>
                  <a:pt x="5976" y="30037"/>
                  <a:pt x="6083" y="30075"/>
                  <a:pt x="6193" y="30075"/>
                </a:cubicBezTo>
                <a:cubicBezTo>
                  <a:pt x="6326" y="30075"/>
                  <a:pt x="6455" y="30020"/>
                  <a:pt x="6549" y="29911"/>
                </a:cubicBezTo>
                <a:cubicBezTo>
                  <a:pt x="6719" y="29717"/>
                  <a:pt x="6698" y="29416"/>
                  <a:pt x="6502" y="29248"/>
                </a:cubicBezTo>
                <a:cubicBezTo>
                  <a:pt x="6413" y="29171"/>
                  <a:pt x="6302" y="29134"/>
                  <a:pt x="6193" y="29134"/>
                </a:cubicBezTo>
                <a:close/>
                <a:moveTo>
                  <a:pt x="27189" y="29724"/>
                </a:moveTo>
                <a:cubicBezTo>
                  <a:pt x="27087" y="29724"/>
                  <a:pt x="26985" y="29756"/>
                  <a:pt x="26899" y="29823"/>
                </a:cubicBezTo>
                <a:cubicBezTo>
                  <a:pt x="26690" y="29979"/>
                  <a:pt x="26652" y="30278"/>
                  <a:pt x="26814" y="30483"/>
                </a:cubicBezTo>
                <a:cubicBezTo>
                  <a:pt x="26907" y="30605"/>
                  <a:pt x="27045" y="30667"/>
                  <a:pt x="27186" y="30667"/>
                </a:cubicBezTo>
                <a:cubicBezTo>
                  <a:pt x="27288" y="30667"/>
                  <a:pt x="27388" y="30637"/>
                  <a:pt x="27474" y="30568"/>
                </a:cubicBezTo>
                <a:cubicBezTo>
                  <a:pt x="27682" y="30410"/>
                  <a:pt x="27719" y="30113"/>
                  <a:pt x="27559" y="29908"/>
                </a:cubicBezTo>
                <a:cubicBezTo>
                  <a:pt x="27468" y="29786"/>
                  <a:pt x="27329" y="29724"/>
                  <a:pt x="27189" y="29724"/>
                </a:cubicBezTo>
                <a:close/>
                <a:moveTo>
                  <a:pt x="7695" y="30291"/>
                </a:moveTo>
                <a:cubicBezTo>
                  <a:pt x="7544" y="30291"/>
                  <a:pt x="7396" y="30362"/>
                  <a:pt x="7305" y="30495"/>
                </a:cubicBezTo>
                <a:cubicBezTo>
                  <a:pt x="7159" y="30711"/>
                  <a:pt x="7214" y="31004"/>
                  <a:pt x="7428" y="31151"/>
                </a:cubicBezTo>
                <a:cubicBezTo>
                  <a:pt x="7510" y="31207"/>
                  <a:pt x="7603" y="31232"/>
                  <a:pt x="7695" y="31235"/>
                </a:cubicBezTo>
                <a:cubicBezTo>
                  <a:pt x="7845" y="31235"/>
                  <a:pt x="7994" y="31162"/>
                  <a:pt x="8085" y="31030"/>
                </a:cubicBezTo>
                <a:cubicBezTo>
                  <a:pt x="8231" y="30813"/>
                  <a:pt x="8176" y="30518"/>
                  <a:pt x="7961" y="30373"/>
                </a:cubicBezTo>
                <a:cubicBezTo>
                  <a:pt x="7879" y="30317"/>
                  <a:pt x="7786" y="30291"/>
                  <a:pt x="7695" y="30291"/>
                </a:cubicBezTo>
                <a:close/>
                <a:moveTo>
                  <a:pt x="25627" y="30794"/>
                </a:moveTo>
                <a:cubicBezTo>
                  <a:pt x="25543" y="30794"/>
                  <a:pt x="25458" y="30816"/>
                  <a:pt x="25381" y="30863"/>
                </a:cubicBezTo>
                <a:cubicBezTo>
                  <a:pt x="25160" y="30996"/>
                  <a:pt x="25086" y="31288"/>
                  <a:pt x="25221" y="31511"/>
                </a:cubicBezTo>
                <a:cubicBezTo>
                  <a:pt x="25309" y="31657"/>
                  <a:pt x="25465" y="31737"/>
                  <a:pt x="25626" y="31737"/>
                </a:cubicBezTo>
                <a:cubicBezTo>
                  <a:pt x="25709" y="31737"/>
                  <a:pt x="25793" y="31716"/>
                  <a:pt x="25869" y="31669"/>
                </a:cubicBezTo>
                <a:cubicBezTo>
                  <a:pt x="26090" y="31534"/>
                  <a:pt x="26165" y="31244"/>
                  <a:pt x="26030" y="31019"/>
                </a:cubicBezTo>
                <a:cubicBezTo>
                  <a:pt x="25942" y="30875"/>
                  <a:pt x="25786" y="30794"/>
                  <a:pt x="25627" y="30794"/>
                </a:cubicBezTo>
                <a:close/>
                <a:moveTo>
                  <a:pt x="9319" y="31267"/>
                </a:moveTo>
                <a:cubicBezTo>
                  <a:pt x="9150" y="31267"/>
                  <a:pt x="8986" y="31360"/>
                  <a:pt x="8900" y="31520"/>
                </a:cubicBezTo>
                <a:cubicBezTo>
                  <a:pt x="8779" y="31751"/>
                  <a:pt x="8867" y="32034"/>
                  <a:pt x="9098" y="32157"/>
                </a:cubicBezTo>
                <a:cubicBezTo>
                  <a:pt x="9166" y="32195"/>
                  <a:pt x="9242" y="32211"/>
                  <a:pt x="9318" y="32214"/>
                </a:cubicBezTo>
                <a:cubicBezTo>
                  <a:pt x="9485" y="32214"/>
                  <a:pt x="9650" y="32119"/>
                  <a:pt x="9735" y="31960"/>
                </a:cubicBezTo>
                <a:cubicBezTo>
                  <a:pt x="9856" y="31731"/>
                  <a:pt x="9770" y="31447"/>
                  <a:pt x="9538" y="31323"/>
                </a:cubicBezTo>
                <a:cubicBezTo>
                  <a:pt x="9468" y="31285"/>
                  <a:pt x="9393" y="31267"/>
                  <a:pt x="9319" y="31267"/>
                </a:cubicBezTo>
                <a:close/>
                <a:moveTo>
                  <a:pt x="23952" y="31680"/>
                </a:moveTo>
                <a:cubicBezTo>
                  <a:pt x="23886" y="31680"/>
                  <a:pt x="23819" y="31694"/>
                  <a:pt x="23756" y="31723"/>
                </a:cubicBezTo>
                <a:cubicBezTo>
                  <a:pt x="23518" y="31831"/>
                  <a:pt x="23414" y="32110"/>
                  <a:pt x="23522" y="32347"/>
                </a:cubicBezTo>
                <a:cubicBezTo>
                  <a:pt x="23601" y="32520"/>
                  <a:pt x="23773" y="32625"/>
                  <a:pt x="23950" y="32625"/>
                </a:cubicBezTo>
                <a:cubicBezTo>
                  <a:pt x="24017" y="32625"/>
                  <a:pt x="24082" y="32611"/>
                  <a:pt x="24146" y="32582"/>
                </a:cubicBezTo>
                <a:cubicBezTo>
                  <a:pt x="24381" y="32472"/>
                  <a:pt x="24488" y="32192"/>
                  <a:pt x="24380" y="31956"/>
                </a:cubicBezTo>
                <a:cubicBezTo>
                  <a:pt x="24301" y="31782"/>
                  <a:pt x="24130" y="31680"/>
                  <a:pt x="23952" y="31680"/>
                </a:cubicBezTo>
                <a:close/>
                <a:moveTo>
                  <a:pt x="11040" y="32055"/>
                </a:moveTo>
                <a:cubicBezTo>
                  <a:pt x="10850" y="32055"/>
                  <a:pt x="10672" y="32168"/>
                  <a:pt x="10599" y="32355"/>
                </a:cubicBezTo>
                <a:cubicBezTo>
                  <a:pt x="10508" y="32598"/>
                  <a:pt x="10627" y="32871"/>
                  <a:pt x="10867" y="32966"/>
                </a:cubicBezTo>
                <a:cubicBezTo>
                  <a:pt x="10925" y="32988"/>
                  <a:pt x="10984" y="32998"/>
                  <a:pt x="11040" y="32998"/>
                </a:cubicBezTo>
                <a:cubicBezTo>
                  <a:pt x="11228" y="32998"/>
                  <a:pt x="11409" y="32883"/>
                  <a:pt x="11479" y="32696"/>
                </a:cubicBezTo>
                <a:cubicBezTo>
                  <a:pt x="11571" y="32453"/>
                  <a:pt x="11452" y="32180"/>
                  <a:pt x="11209" y="32086"/>
                </a:cubicBezTo>
                <a:lnTo>
                  <a:pt x="11212" y="32086"/>
                </a:lnTo>
                <a:cubicBezTo>
                  <a:pt x="11155" y="32065"/>
                  <a:pt x="11097" y="32055"/>
                  <a:pt x="11040" y="32055"/>
                </a:cubicBezTo>
                <a:close/>
                <a:moveTo>
                  <a:pt x="22183" y="32369"/>
                </a:moveTo>
                <a:cubicBezTo>
                  <a:pt x="22136" y="32369"/>
                  <a:pt x="22087" y="32376"/>
                  <a:pt x="22039" y="32391"/>
                </a:cubicBezTo>
                <a:lnTo>
                  <a:pt x="22038" y="32391"/>
                </a:lnTo>
                <a:cubicBezTo>
                  <a:pt x="21794" y="32472"/>
                  <a:pt x="21657" y="32739"/>
                  <a:pt x="21736" y="32985"/>
                </a:cubicBezTo>
                <a:cubicBezTo>
                  <a:pt x="21803" y="33185"/>
                  <a:pt x="21988" y="33309"/>
                  <a:pt x="22185" y="33309"/>
                </a:cubicBezTo>
                <a:cubicBezTo>
                  <a:pt x="22234" y="33309"/>
                  <a:pt x="22284" y="33302"/>
                  <a:pt x="22331" y="33288"/>
                </a:cubicBezTo>
                <a:cubicBezTo>
                  <a:pt x="22577" y="33209"/>
                  <a:pt x="22713" y="32942"/>
                  <a:pt x="22634" y="32695"/>
                </a:cubicBezTo>
                <a:cubicBezTo>
                  <a:pt x="22568" y="32496"/>
                  <a:pt x="22383" y="32369"/>
                  <a:pt x="22183" y="32369"/>
                </a:cubicBezTo>
                <a:close/>
                <a:moveTo>
                  <a:pt x="12840" y="32639"/>
                </a:moveTo>
                <a:cubicBezTo>
                  <a:pt x="12631" y="32639"/>
                  <a:pt x="12441" y="32780"/>
                  <a:pt x="12385" y="32992"/>
                </a:cubicBezTo>
                <a:cubicBezTo>
                  <a:pt x="12320" y="33246"/>
                  <a:pt x="12472" y="33501"/>
                  <a:pt x="12723" y="33567"/>
                </a:cubicBezTo>
                <a:cubicBezTo>
                  <a:pt x="12760" y="33576"/>
                  <a:pt x="12796" y="33583"/>
                  <a:pt x="12833" y="33583"/>
                </a:cubicBezTo>
                <a:cubicBezTo>
                  <a:pt x="12836" y="33583"/>
                  <a:pt x="12840" y="33583"/>
                  <a:pt x="12843" y="33583"/>
                </a:cubicBezTo>
                <a:cubicBezTo>
                  <a:pt x="13050" y="33583"/>
                  <a:pt x="13241" y="33443"/>
                  <a:pt x="13299" y="33230"/>
                </a:cubicBezTo>
                <a:cubicBezTo>
                  <a:pt x="13364" y="32977"/>
                  <a:pt x="13212" y="32722"/>
                  <a:pt x="12960" y="32655"/>
                </a:cubicBezTo>
                <a:cubicBezTo>
                  <a:pt x="12920" y="32645"/>
                  <a:pt x="12880" y="32639"/>
                  <a:pt x="12840" y="32639"/>
                </a:cubicBezTo>
                <a:close/>
                <a:moveTo>
                  <a:pt x="20354" y="32851"/>
                </a:moveTo>
                <a:cubicBezTo>
                  <a:pt x="20323" y="32851"/>
                  <a:pt x="20292" y="32854"/>
                  <a:pt x="20261" y="32860"/>
                </a:cubicBezTo>
                <a:cubicBezTo>
                  <a:pt x="20007" y="32909"/>
                  <a:pt x="19842" y="33159"/>
                  <a:pt x="19890" y="33414"/>
                </a:cubicBezTo>
                <a:cubicBezTo>
                  <a:pt x="19939" y="33637"/>
                  <a:pt x="20133" y="33794"/>
                  <a:pt x="20352" y="33794"/>
                </a:cubicBezTo>
                <a:cubicBezTo>
                  <a:pt x="20387" y="33794"/>
                  <a:pt x="20417" y="33789"/>
                  <a:pt x="20447" y="33784"/>
                </a:cubicBezTo>
                <a:cubicBezTo>
                  <a:pt x="20701" y="33733"/>
                  <a:pt x="20866" y="33482"/>
                  <a:pt x="20816" y="33227"/>
                </a:cubicBezTo>
                <a:cubicBezTo>
                  <a:pt x="20772" y="33005"/>
                  <a:pt x="20574" y="32851"/>
                  <a:pt x="20354" y="32851"/>
                </a:cubicBezTo>
                <a:close/>
                <a:moveTo>
                  <a:pt x="14697" y="33011"/>
                </a:moveTo>
                <a:cubicBezTo>
                  <a:pt x="14467" y="33011"/>
                  <a:pt x="14268" y="33181"/>
                  <a:pt x="14234" y="33417"/>
                </a:cubicBezTo>
                <a:cubicBezTo>
                  <a:pt x="14196" y="33675"/>
                  <a:pt x="14373" y="33913"/>
                  <a:pt x="14634" y="33951"/>
                </a:cubicBezTo>
                <a:cubicBezTo>
                  <a:pt x="14654" y="33954"/>
                  <a:pt x="14677" y="33956"/>
                  <a:pt x="14700" y="33956"/>
                </a:cubicBezTo>
                <a:cubicBezTo>
                  <a:pt x="14932" y="33956"/>
                  <a:pt x="15134" y="33786"/>
                  <a:pt x="15167" y="33551"/>
                </a:cubicBezTo>
                <a:cubicBezTo>
                  <a:pt x="15203" y="33290"/>
                  <a:pt x="15023" y="33053"/>
                  <a:pt x="14766" y="33016"/>
                </a:cubicBezTo>
                <a:cubicBezTo>
                  <a:pt x="14743" y="33013"/>
                  <a:pt x="14720" y="33011"/>
                  <a:pt x="14697" y="33011"/>
                </a:cubicBezTo>
                <a:close/>
                <a:moveTo>
                  <a:pt x="18483" y="33118"/>
                </a:moveTo>
                <a:cubicBezTo>
                  <a:pt x="18469" y="33118"/>
                  <a:pt x="18454" y="33118"/>
                  <a:pt x="18439" y="33120"/>
                </a:cubicBezTo>
                <a:cubicBezTo>
                  <a:pt x="18180" y="33142"/>
                  <a:pt x="17990" y="33369"/>
                  <a:pt x="18011" y="33628"/>
                </a:cubicBezTo>
                <a:cubicBezTo>
                  <a:pt x="18031" y="33872"/>
                  <a:pt x="18236" y="34059"/>
                  <a:pt x="18482" y="34061"/>
                </a:cubicBezTo>
                <a:cubicBezTo>
                  <a:pt x="18494" y="34061"/>
                  <a:pt x="18509" y="34061"/>
                  <a:pt x="18521" y="34059"/>
                </a:cubicBezTo>
                <a:lnTo>
                  <a:pt x="18521" y="34061"/>
                </a:lnTo>
                <a:cubicBezTo>
                  <a:pt x="18779" y="34036"/>
                  <a:pt x="18972" y="33809"/>
                  <a:pt x="18952" y="33549"/>
                </a:cubicBezTo>
                <a:cubicBezTo>
                  <a:pt x="18928" y="33303"/>
                  <a:pt x="18724" y="33118"/>
                  <a:pt x="18483" y="33118"/>
                </a:cubicBezTo>
                <a:close/>
                <a:moveTo>
                  <a:pt x="16587" y="33171"/>
                </a:moveTo>
                <a:cubicBezTo>
                  <a:pt x="16334" y="33171"/>
                  <a:pt x="16125" y="33373"/>
                  <a:pt x="16117" y="33630"/>
                </a:cubicBezTo>
                <a:cubicBezTo>
                  <a:pt x="16108" y="33891"/>
                  <a:pt x="16313" y="34106"/>
                  <a:pt x="16574" y="34114"/>
                </a:cubicBezTo>
                <a:lnTo>
                  <a:pt x="16586" y="34114"/>
                </a:lnTo>
                <a:cubicBezTo>
                  <a:pt x="16841" y="34114"/>
                  <a:pt x="17051" y="33910"/>
                  <a:pt x="17058" y="33657"/>
                </a:cubicBezTo>
                <a:cubicBezTo>
                  <a:pt x="17066" y="33394"/>
                  <a:pt x="16861" y="33179"/>
                  <a:pt x="16601" y="33171"/>
                </a:cubicBezTo>
                <a:cubicBezTo>
                  <a:pt x="16597" y="33171"/>
                  <a:pt x="16592" y="33171"/>
                  <a:pt x="16587" y="3317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76" name="Google Shape;376;p11"/>
          <p:cNvGrpSpPr/>
          <p:nvPr/>
        </p:nvGrpSpPr>
        <p:grpSpPr>
          <a:xfrm>
            <a:off x="5911259" y="1947576"/>
            <a:ext cx="705454" cy="198428"/>
            <a:chOff x="3505675" y="3415300"/>
            <a:chExt cx="543075" cy="148825"/>
          </a:xfrm>
        </p:grpSpPr>
        <p:sp>
          <p:nvSpPr>
            <p:cNvPr id="377" name="Google Shape;377;p11"/>
            <p:cNvSpPr/>
            <p:nvPr/>
          </p:nvSpPr>
          <p:spPr>
            <a:xfrm>
              <a:off x="3505675" y="3415300"/>
              <a:ext cx="543075" cy="46575"/>
            </a:xfrm>
            <a:custGeom>
              <a:avLst/>
              <a:gdLst/>
              <a:ahLst/>
              <a:cxnLst/>
              <a:rect l="l" t="t" r="r" b="b"/>
              <a:pathLst>
                <a:path w="21723" h="1863" extrusionOk="0">
                  <a:moveTo>
                    <a:pt x="6638" y="1"/>
                  </a:moveTo>
                  <a:cubicBezTo>
                    <a:pt x="5867" y="1"/>
                    <a:pt x="5097" y="240"/>
                    <a:pt x="4378" y="715"/>
                  </a:cubicBezTo>
                  <a:cubicBezTo>
                    <a:pt x="3752" y="1132"/>
                    <a:pt x="3080" y="1340"/>
                    <a:pt x="2409" y="1340"/>
                  </a:cubicBezTo>
                  <a:cubicBezTo>
                    <a:pt x="1737" y="1340"/>
                    <a:pt x="1065" y="1132"/>
                    <a:pt x="439" y="715"/>
                  </a:cubicBezTo>
                  <a:cubicBezTo>
                    <a:pt x="396" y="686"/>
                    <a:pt x="346" y="672"/>
                    <a:pt x="297" y="672"/>
                  </a:cubicBezTo>
                  <a:cubicBezTo>
                    <a:pt x="214" y="672"/>
                    <a:pt x="131" y="713"/>
                    <a:pt x="81" y="788"/>
                  </a:cubicBezTo>
                  <a:cubicBezTo>
                    <a:pt x="1" y="905"/>
                    <a:pt x="34" y="1068"/>
                    <a:pt x="152" y="1147"/>
                  </a:cubicBezTo>
                  <a:cubicBezTo>
                    <a:pt x="870" y="1624"/>
                    <a:pt x="1639" y="1863"/>
                    <a:pt x="2409" y="1863"/>
                  </a:cubicBezTo>
                  <a:cubicBezTo>
                    <a:pt x="3179" y="1863"/>
                    <a:pt x="3949" y="1624"/>
                    <a:pt x="4666" y="1147"/>
                  </a:cubicBezTo>
                  <a:cubicBezTo>
                    <a:pt x="5292" y="730"/>
                    <a:pt x="5964" y="522"/>
                    <a:pt x="6635" y="522"/>
                  </a:cubicBezTo>
                  <a:cubicBezTo>
                    <a:pt x="7307" y="522"/>
                    <a:pt x="7979" y="730"/>
                    <a:pt x="8605" y="1147"/>
                  </a:cubicBezTo>
                  <a:cubicBezTo>
                    <a:pt x="9322" y="1624"/>
                    <a:pt x="10092" y="1863"/>
                    <a:pt x="10862" y="1863"/>
                  </a:cubicBezTo>
                  <a:cubicBezTo>
                    <a:pt x="11632" y="1863"/>
                    <a:pt x="12401" y="1624"/>
                    <a:pt x="13119" y="1147"/>
                  </a:cubicBezTo>
                  <a:cubicBezTo>
                    <a:pt x="13745" y="730"/>
                    <a:pt x="14416" y="522"/>
                    <a:pt x="15088" y="522"/>
                  </a:cubicBezTo>
                  <a:cubicBezTo>
                    <a:pt x="15759" y="522"/>
                    <a:pt x="16431" y="730"/>
                    <a:pt x="17057" y="1147"/>
                  </a:cubicBezTo>
                  <a:cubicBezTo>
                    <a:pt x="17774" y="1624"/>
                    <a:pt x="18544" y="1863"/>
                    <a:pt x="19314" y="1863"/>
                  </a:cubicBezTo>
                  <a:cubicBezTo>
                    <a:pt x="20084" y="1863"/>
                    <a:pt x="20854" y="1624"/>
                    <a:pt x="21571" y="1147"/>
                  </a:cubicBezTo>
                  <a:cubicBezTo>
                    <a:pt x="21689" y="1068"/>
                    <a:pt x="21723" y="908"/>
                    <a:pt x="21642" y="788"/>
                  </a:cubicBezTo>
                  <a:cubicBezTo>
                    <a:pt x="21593" y="713"/>
                    <a:pt x="21511" y="672"/>
                    <a:pt x="21427" y="672"/>
                  </a:cubicBezTo>
                  <a:cubicBezTo>
                    <a:pt x="21378" y="672"/>
                    <a:pt x="21328" y="686"/>
                    <a:pt x="21284" y="715"/>
                  </a:cubicBezTo>
                  <a:cubicBezTo>
                    <a:pt x="20658" y="1132"/>
                    <a:pt x="19986" y="1340"/>
                    <a:pt x="19315" y="1340"/>
                  </a:cubicBezTo>
                  <a:cubicBezTo>
                    <a:pt x="18643" y="1340"/>
                    <a:pt x="17972" y="1132"/>
                    <a:pt x="17346" y="715"/>
                  </a:cubicBezTo>
                  <a:cubicBezTo>
                    <a:pt x="16628" y="239"/>
                    <a:pt x="15858" y="1"/>
                    <a:pt x="15089" y="1"/>
                  </a:cubicBezTo>
                  <a:cubicBezTo>
                    <a:pt x="14319" y="1"/>
                    <a:pt x="13549" y="239"/>
                    <a:pt x="12832" y="715"/>
                  </a:cubicBezTo>
                  <a:cubicBezTo>
                    <a:pt x="12206" y="1132"/>
                    <a:pt x="11534" y="1340"/>
                    <a:pt x="10862" y="1340"/>
                  </a:cubicBezTo>
                  <a:cubicBezTo>
                    <a:pt x="10191" y="1340"/>
                    <a:pt x="9519" y="1132"/>
                    <a:pt x="8893" y="715"/>
                  </a:cubicBezTo>
                  <a:cubicBezTo>
                    <a:pt x="8177" y="240"/>
                    <a:pt x="7407" y="1"/>
                    <a:pt x="663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378;p11"/>
            <p:cNvSpPr/>
            <p:nvPr/>
          </p:nvSpPr>
          <p:spPr>
            <a:xfrm>
              <a:off x="3505675" y="3517550"/>
              <a:ext cx="543075" cy="46575"/>
            </a:xfrm>
            <a:custGeom>
              <a:avLst/>
              <a:gdLst/>
              <a:ahLst/>
              <a:cxnLst/>
              <a:rect l="l" t="t" r="r" b="b"/>
              <a:pathLst>
                <a:path w="21723" h="1863" extrusionOk="0">
                  <a:moveTo>
                    <a:pt x="6638" y="1"/>
                  </a:moveTo>
                  <a:cubicBezTo>
                    <a:pt x="5867" y="1"/>
                    <a:pt x="5097" y="241"/>
                    <a:pt x="4378" y="716"/>
                  </a:cubicBezTo>
                  <a:cubicBezTo>
                    <a:pt x="3752" y="1132"/>
                    <a:pt x="3080" y="1341"/>
                    <a:pt x="2409" y="1341"/>
                  </a:cubicBezTo>
                  <a:cubicBezTo>
                    <a:pt x="1737" y="1341"/>
                    <a:pt x="1065" y="1132"/>
                    <a:pt x="439" y="716"/>
                  </a:cubicBezTo>
                  <a:cubicBezTo>
                    <a:pt x="396" y="687"/>
                    <a:pt x="346" y="673"/>
                    <a:pt x="297" y="673"/>
                  </a:cubicBezTo>
                  <a:cubicBezTo>
                    <a:pt x="214" y="673"/>
                    <a:pt x="131" y="713"/>
                    <a:pt x="81" y="789"/>
                  </a:cubicBezTo>
                  <a:cubicBezTo>
                    <a:pt x="1" y="906"/>
                    <a:pt x="34" y="1068"/>
                    <a:pt x="152" y="1147"/>
                  </a:cubicBezTo>
                  <a:cubicBezTo>
                    <a:pt x="870" y="1624"/>
                    <a:pt x="1639" y="1863"/>
                    <a:pt x="2409" y="1863"/>
                  </a:cubicBezTo>
                  <a:cubicBezTo>
                    <a:pt x="3179" y="1863"/>
                    <a:pt x="3949" y="1624"/>
                    <a:pt x="4666" y="1147"/>
                  </a:cubicBezTo>
                  <a:cubicBezTo>
                    <a:pt x="5292" y="730"/>
                    <a:pt x="5964" y="522"/>
                    <a:pt x="6635" y="522"/>
                  </a:cubicBezTo>
                  <a:cubicBezTo>
                    <a:pt x="7307" y="522"/>
                    <a:pt x="7979" y="730"/>
                    <a:pt x="8605" y="1147"/>
                  </a:cubicBezTo>
                  <a:cubicBezTo>
                    <a:pt x="9322" y="1624"/>
                    <a:pt x="10092" y="1863"/>
                    <a:pt x="10862" y="1863"/>
                  </a:cubicBezTo>
                  <a:cubicBezTo>
                    <a:pt x="11632" y="1863"/>
                    <a:pt x="12401" y="1624"/>
                    <a:pt x="13119" y="1147"/>
                  </a:cubicBezTo>
                  <a:cubicBezTo>
                    <a:pt x="13745" y="730"/>
                    <a:pt x="14416" y="522"/>
                    <a:pt x="15088" y="522"/>
                  </a:cubicBezTo>
                  <a:cubicBezTo>
                    <a:pt x="15759" y="522"/>
                    <a:pt x="16431" y="730"/>
                    <a:pt x="17057" y="1147"/>
                  </a:cubicBezTo>
                  <a:cubicBezTo>
                    <a:pt x="17774" y="1624"/>
                    <a:pt x="18544" y="1863"/>
                    <a:pt x="19314" y="1863"/>
                  </a:cubicBezTo>
                  <a:cubicBezTo>
                    <a:pt x="20084" y="1863"/>
                    <a:pt x="20854" y="1624"/>
                    <a:pt x="21571" y="1147"/>
                  </a:cubicBezTo>
                  <a:cubicBezTo>
                    <a:pt x="21689" y="1069"/>
                    <a:pt x="21723" y="909"/>
                    <a:pt x="21642" y="789"/>
                  </a:cubicBezTo>
                  <a:cubicBezTo>
                    <a:pt x="21593" y="713"/>
                    <a:pt x="21511" y="673"/>
                    <a:pt x="21427" y="673"/>
                  </a:cubicBezTo>
                  <a:cubicBezTo>
                    <a:pt x="21378" y="673"/>
                    <a:pt x="21328" y="687"/>
                    <a:pt x="21284" y="716"/>
                  </a:cubicBezTo>
                  <a:cubicBezTo>
                    <a:pt x="20658" y="1132"/>
                    <a:pt x="19986" y="1341"/>
                    <a:pt x="19315" y="1341"/>
                  </a:cubicBezTo>
                  <a:cubicBezTo>
                    <a:pt x="18643" y="1341"/>
                    <a:pt x="17972" y="1132"/>
                    <a:pt x="17346" y="716"/>
                  </a:cubicBezTo>
                  <a:cubicBezTo>
                    <a:pt x="16628" y="239"/>
                    <a:pt x="15858" y="1"/>
                    <a:pt x="15089" y="1"/>
                  </a:cubicBezTo>
                  <a:cubicBezTo>
                    <a:pt x="14319" y="1"/>
                    <a:pt x="13549" y="239"/>
                    <a:pt x="12832" y="716"/>
                  </a:cubicBezTo>
                  <a:cubicBezTo>
                    <a:pt x="12206" y="1132"/>
                    <a:pt x="11534" y="1341"/>
                    <a:pt x="10862" y="1341"/>
                  </a:cubicBezTo>
                  <a:cubicBezTo>
                    <a:pt x="10191" y="1341"/>
                    <a:pt x="9519" y="1132"/>
                    <a:pt x="8893" y="716"/>
                  </a:cubicBezTo>
                  <a:cubicBezTo>
                    <a:pt x="8177" y="241"/>
                    <a:pt x="7407" y="1"/>
                    <a:pt x="6638"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79" name="Google Shape;379;p11"/>
          <p:cNvGrpSpPr/>
          <p:nvPr/>
        </p:nvGrpSpPr>
        <p:grpSpPr>
          <a:xfrm rot="5400000">
            <a:off x="-189833" y="4622023"/>
            <a:ext cx="1051086" cy="203895"/>
            <a:chOff x="2704450" y="2501175"/>
            <a:chExt cx="809150" cy="152925"/>
          </a:xfrm>
        </p:grpSpPr>
        <p:sp>
          <p:nvSpPr>
            <p:cNvPr id="380" name="Google Shape;380;p11"/>
            <p:cNvSpPr/>
            <p:nvPr/>
          </p:nvSpPr>
          <p:spPr>
            <a:xfrm>
              <a:off x="3493275" y="2501175"/>
              <a:ext cx="20325" cy="20275"/>
            </a:xfrm>
            <a:custGeom>
              <a:avLst/>
              <a:gdLst/>
              <a:ahLst/>
              <a:cxnLst/>
              <a:rect l="l" t="t" r="r" b="b"/>
              <a:pathLst>
                <a:path w="813" h="811" extrusionOk="0">
                  <a:moveTo>
                    <a:pt x="406" y="0"/>
                  </a:moveTo>
                  <a:cubicBezTo>
                    <a:pt x="182" y="0"/>
                    <a:pt x="0" y="181"/>
                    <a:pt x="0" y="405"/>
                  </a:cubicBezTo>
                  <a:cubicBezTo>
                    <a:pt x="0" y="630"/>
                    <a:pt x="182" y="811"/>
                    <a:pt x="406" y="811"/>
                  </a:cubicBezTo>
                  <a:cubicBezTo>
                    <a:pt x="630" y="811"/>
                    <a:pt x="812" y="630"/>
                    <a:pt x="812" y="405"/>
                  </a:cubicBezTo>
                  <a:cubicBezTo>
                    <a:pt x="812" y="181"/>
                    <a:pt x="630" y="0"/>
                    <a:pt x="40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381;p11"/>
            <p:cNvSpPr/>
            <p:nvPr/>
          </p:nvSpPr>
          <p:spPr>
            <a:xfrm>
              <a:off x="3493275" y="2633775"/>
              <a:ext cx="20325" cy="20325"/>
            </a:xfrm>
            <a:custGeom>
              <a:avLst/>
              <a:gdLst/>
              <a:ahLst/>
              <a:cxnLst/>
              <a:rect l="l" t="t" r="r" b="b"/>
              <a:pathLst>
                <a:path w="813" h="813" extrusionOk="0">
                  <a:moveTo>
                    <a:pt x="406" y="1"/>
                  </a:moveTo>
                  <a:cubicBezTo>
                    <a:pt x="182" y="1"/>
                    <a:pt x="0" y="181"/>
                    <a:pt x="0" y="406"/>
                  </a:cubicBezTo>
                  <a:cubicBezTo>
                    <a:pt x="0" y="631"/>
                    <a:pt x="182" y="813"/>
                    <a:pt x="406" y="813"/>
                  </a:cubicBezTo>
                  <a:cubicBezTo>
                    <a:pt x="630" y="813"/>
                    <a:pt x="812" y="631"/>
                    <a:pt x="812" y="406"/>
                  </a:cubicBezTo>
                  <a:cubicBezTo>
                    <a:pt x="812" y="181"/>
                    <a:pt x="630" y="1"/>
                    <a:pt x="40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 name="Google Shape;382;p11"/>
            <p:cNvSpPr/>
            <p:nvPr/>
          </p:nvSpPr>
          <p:spPr>
            <a:xfrm>
              <a:off x="3361800" y="2501175"/>
              <a:ext cx="20325" cy="20275"/>
            </a:xfrm>
            <a:custGeom>
              <a:avLst/>
              <a:gdLst/>
              <a:ahLst/>
              <a:cxnLst/>
              <a:rect l="l" t="t" r="r" b="b"/>
              <a:pathLst>
                <a:path w="813" h="811" extrusionOk="0">
                  <a:moveTo>
                    <a:pt x="406" y="0"/>
                  </a:moveTo>
                  <a:cubicBezTo>
                    <a:pt x="182" y="0"/>
                    <a:pt x="0" y="181"/>
                    <a:pt x="0" y="405"/>
                  </a:cubicBezTo>
                  <a:cubicBezTo>
                    <a:pt x="0" y="630"/>
                    <a:pt x="182" y="811"/>
                    <a:pt x="406" y="811"/>
                  </a:cubicBezTo>
                  <a:cubicBezTo>
                    <a:pt x="630" y="811"/>
                    <a:pt x="812" y="630"/>
                    <a:pt x="812" y="405"/>
                  </a:cubicBezTo>
                  <a:cubicBezTo>
                    <a:pt x="812" y="181"/>
                    <a:pt x="630" y="0"/>
                    <a:pt x="40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383;p11"/>
            <p:cNvSpPr/>
            <p:nvPr/>
          </p:nvSpPr>
          <p:spPr>
            <a:xfrm>
              <a:off x="3361800" y="2633775"/>
              <a:ext cx="20325" cy="20325"/>
            </a:xfrm>
            <a:custGeom>
              <a:avLst/>
              <a:gdLst/>
              <a:ahLst/>
              <a:cxnLst/>
              <a:rect l="l" t="t" r="r" b="b"/>
              <a:pathLst>
                <a:path w="813" h="813" extrusionOk="0">
                  <a:moveTo>
                    <a:pt x="406" y="1"/>
                  </a:moveTo>
                  <a:cubicBezTo>
                    <a:pt x="182" y="1"/>
                    <a:pt x="0" y="181"/>
                    <a:pt x="0" y="406"/>
                  </a:cubicBezTo>
                  <a:cubicBezTo>
                    <a:pt x="0" y="631"/>
                    <a:pt x="182" y="813"/>
                    <a:pt x="406" y="813"/>
                  </a:cubicBezTo>
                  <a:cubicBezTo>
                    <a:pt x="630" y="813"/>
                    <a:pt x="812" y="631"/>
                    <a:pt x="812" y="406"/>
                  </a:cubicBezTo>
                  <a:cubicBezTo>
                    <a:pt x="812" y="181"/>
                    <a:pt x="630" y="1"/>
                    <a:pt x="40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11"/>
            <p:cNvSpPr/>
            <p:nvPr/>
          </p:nvSpPr>
          <p:spPr>
            <a:xfrm>
              <a:off x="3230325" y="2501175"/>
              <a:ext cx="20325" cy="20275"/>
            </a:xfrm>
            <a:custGeom>
              <a:avLst/>
              <a:gdLst/>
              <a:ahLst/>
              <a:cxnLst/>
              <a:rect l="l" t="t" r="r" b="b"/>
              <a:pathLst>
                <a:path w="813" h="811" extrusionOk="0">
                  <a:moveTo>
                    <a:pt x="406" y="0"/>
                  </a:moveTo>
                  <a:cubicBezTo>
                    <a:pt x="182" y="0"/>
                    <a:pt x="0" y="181"/>
                    <a:pt x="0" y="405"/>
                  </a:cubicBezTo>
                  <a:cubicBezTo>
                    <a:pt x="0" y="630"/>
                    <a:pt x="182" y="811"/>
                    <a:pt x="406" y="811"/>
                  </a:cubicBezTo>
                  <a:cubicBezTo>
                    <a:pt x="630" y="811"/>
                    <a:pt x="812" y="630"/>
                    <a:pt x="812" y="405"/>
                  </a:cubicBezTo>
                  <a:cubicBezTo>
                    <a:pt x="812" y="181"/>
                    <a:pt x="630" y="0"/>
                    <a:pt x="40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385;p11"/>
            <p:cNvSpPr/>
            <p:nvPr/>
          </p:nvSpPr>
          <p:spPr>
            <a:xfrm>
              <a:off x="3230325" y="2633775"/>
              <a:ext cx="20325" cy="20325"/>
            </a:xfrm>
            <a:custGeom>
              <a:avLst/>
              <a:gdLst/>
              <a:ahLst/>
              <a:cxnLst/>
              <a:rect l="l" t="t" r="r" b="b"/>
              <a:pathLst>
                <a:path w="813" h="813" extrusionOk="0">
                  <a:moveTo>
                    <a:pt x="406" y="1"/>
                  </a:moveTo>
                  <a:cubicBezTo>
                    <a:pt x="182" y="1"/>
                    <a:pt x="0" y="181"/>
                    <a:pt x="0" y="406"/>
                  </a:cubicBezTo>
                  <a:cubicBezTo>
                    <a:pt x="0" y="631"/>
                    <a:pt x="182" y="813"/>
                    <a:pt x="406" y="813"/>
                  </a:cubicBezTo>
                  <a:cubicBezTo>
                    <a:pt x="630" y="813"/>
                    <a:pt x="812" y="631"/>
                    <a:pt x="812" y="406"/>
                  </a:cubicBezTo>
                  <a:cubicBezTo>
                    <a:pt x="812" y="181"/>
                    <a:pt x="630" y="1"/>
                    <a:pt x="40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 name="Google Shape;386;p11"/>
            <p:cNvSpPr/>
            <p:nvPr/>
          </p:nvSpPr>
          <p:spPr>
            <a:xfrm>
              <a:off x="3098850" y="2501175"/>
              <a:ext cx="20325" cy="20275"/>
            </a:xfrm>
            <a:custGeom>
              <a:avLst/>
              <a:gdLst/>
              <a:ahLst/>
              <a:cxnLst/>
              <a:rect l="l" t="t" r="r" b="b"/>
              <a:pathLst>
                <a:path w="813" h="811" extrusionOk="0">
                  <a:moveTo>
                    <a:pt x="406" y="0"/>
                  </a:moveTo>
                  <a:cubicBezTo>
                    <a:pt x="182" y="0"/>
                    <a:pt x="0" y="181"/>
                    <a:pt x="0" y="405"/>
                  </a:cubicBezTo>
                  <a:cubicBezTo>
                    <a:pt x="0" y="630"/>
                    <a:pt x="182" y="811"/>
                    <a:pt x="406" y="811"/>
                  </a:cubicBezTo>
                  <a:cubicBezTo>
                    <a:pt x="630" y="811"/>
                    <a:pt x="812" y="630"/>
                    <a:pt x="812" y="405"/>
                  </a:cubicBezTo>
                  <a:cubicBezTo>
                    <a:pt x="812" y="181"/>
                    <a:pt x="630" y="0"/>
                    <a:pt x="40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11"/>
            <p:cNvSpPr/>
            <p:nvPr/>
          </p:nvSpPr>
          <p:spPr>
            <a:xfrm>
              <a:off x="3098850" y="2633775"/>
              <a:ext cx="20325" cy="20325"/>
            </a:xfrm>
            <a:custGeom>
              <a:avLst/>
              <a:gdLst/>
              <a:ahLst/>
              <a:cxnLst/>
              <a:rect l="l" t="t" r="r" b="b"/>
              <a:pathLst>
                <a:path w="813" h="813" extrusionOk="0">
                  <a:moveTo>
                    <a:pt x="406" y="1"/>
                  </a:moveTo>
                  <a:cubicBezTo>
                    <a:pt x="182" y="1"/>
                    <a:pt x="0" y="181"/>
                    <a:pt x="0" y="406"/>
                  </a:cubicBezTo>
                  <a:cubicBezTo>
                    <a:pt x="0" y="631"/>
                    <a:pt x="182" y="813"/>
                    <a:pt x="406" y="813"/>
                  </a:cubicBezTo>
                  <a:cubicBezTo>
                    <a:pt x="630" y="813"/>
                    <a:pt x="812" y="631"/>
                    <a:pt x="812" y="406"/>
                  </a:cubicBezTo>
                  <a:cubicBezTo>
                    <a:pt x="812" y="181"/>
                    <a:pt x="630" y="1"/>
                    <a:pt x="40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 name="Google Shape;388;p11"/>
            <p:cNvSpPr/>
            <p:nvPr/>
          </p:nvSpPr>
          <p:spPr>
            <a:xfrm>
              <a:off x="2967375" y="2501175"/>
              <a:ext cx="20350" cy="20275"/>
            </a:xfrm>
            <a:custGeom>
              <a:avLst/>
              <a:gdLst/>
              <a:ahLst/>
              <a:cxnLst/>
              <a:rect l="l" t="t" r="r" b="b"/>
              <a:pathLst>
                <a:path w="814" h="811" extrusionOk="0">
                  <a:moveTo>
                    <a:pt x="406" y="0"/>
                  </a:moveTo>
                  <a:cubicBezTo>
                    <a:pt x="182" y="0"/>
                    <a:pt x="0" y="182"/>
                    <a:pt x="0" y="405"/>
                  </a:cubicBezTo>
                  <a:cubicBezTo>
                    <a:pt x="0" y="628"/>
                    <a:pt x="182" y="811"/>
                    <a:pt x="406" y="811"/>
                  </a:cubicBezTo>
                  <a:cubicBezTo>
                    <a:pt x="632" y="811"/>
                    <a:pt x="814" y="630"/>
                    <a:pt x="812" y="405"/>
                  </a:cubicBezTo>
                  <a:cubicBezTo>
                    <a:pt x="812" y="182"/>
                    <a:pt x="630" y="0"/>
                    <a:pt x="40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Google Shape;389;p11"/>
            <p:cNvSpPr/>
            <p:nvPr/>
          </p:nvSpPr>
          <p:spPr>
            <a:xfrm>
              <a:off x="2967375" y="2633775"/>
              <a:ext cx="20350" cy="20325"/>
            </a:xfrm>
            <a:custGeom>
              <a:avLst/>
              <a:gdLst/>
              <a:ahLst/>
              <a:cxnLst/>
              <a:rect l="l" t="t" r="r" b="b"/>
              <a:pathLst>
                <a:path w="814" h="813" extrusionOk="0">
                  <a:moveTo>
                    <a:pt x="406" y="1"/>
                  </a:moveTo>
                  <a:cubicBezTo>
                    <a:pt x="182" y="1"/>
                    <a:pt x="0" y="183"/>
                    <a:pt x="0" y="406"/>
                  </a:cubicBezTo>
                  <a:cubicBezTo>
                    <a:pt x="0" y="629"/>
                    <a:pt x="182" y="813"/>
                    <a:pt x="406" y="813"/>
                  </a:cubicBezTo>
                  <a:cubicBezTo>
                    <a:pt x="632" y="813"/>
                    <a:pt x="814" y="629"/>
                    <a:pt x="812" y="406"/>
                  </a:cubicBezTo>
                  <a:cubicBezTo>
                    <a:pt x="812" y="183"/>
                    <a:pt x="630" y="1"/>
                    <a:pt x="40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11"/>
            <p:cNvSpPr/>
            <p:nvPr/>
          </p:nvSpPr>
          <p:spPr>
            <a:xfrm>
              <a:off x="2835925" y="2501175"/>
              <a:ext cx="20325" cy="20275"/>
            </a:xfrm>
            <a:custGeom>
              <a:avLst/>
              <a:gdLst/>
              <a:ahLst/>
              <a:cxnLst/>
              <a:rect l="l" t="t" r="r" b="b"/>
              <a:pathLst>
                <a:path w="813" h="811" extrusionOk="0">
                  <a:moveTo>
                    <a:pt x="408" y="0"/>
                  </a:moveTo>
                  <a:cubicBezTo>
                    <a:pt x="183" y="0"/>
                    <a:pt x="1" y="181"/>
                    <a:pt x="1" y="405"/>
                  </a:cubicBezTo>
                  <a:cubicBezTo>
                    <a:pt x="1" y="630"/>
                    <a:pt x="183" y="811"/>
                    <a:pt x="408" y="811"/>
                  </a:cubicBezTo>
                  <a:cubicBezTo>
                    <a:pt x="631" y="811"/>
                    <a:pt x="813" y="630"/>
                    <a:pt x="813" y="405"/>
                  </a:cubicBezTo>
                  <a:cubicBezTo>
                    <a:pt x="813" y="181"/>
                    <a:pt x="631" y="0"/>
                    <a:pt x="4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11"/>
            <p:cNvSpPr/>
            <p:nvPr/>
          </p:nvSpPr>
          <p:spPr>
            <a:xfrm>
              <a:off x="2835925" y="2633775"/>
              <a:ext cx="20325" cy="20325"/>
            </a:xfrm>
            <a:custGeom>
              <a:avLst/>
              <a:gdLst/>
              <a:ahLst/>
              <a:cxnLst/>
              <a:rect l="l" t="t" r="r" b="b"/>
              <a:pathLst>
                <a:path w="813" h="813" extrusionOk="0">
                  <a:moveTo>
                    <a:pt x="408" y="1"/>
                  </a:moveTo>
                  <a:cubicBezTo>
                    <a:pt x="183" y="1"/>
                    <a:pt x="1" y="181"/>
                    <a:pt x="1" y="406"/>
                  </a:cubicBezTo>
                  <a:cubicBezTo>
                    <a:pt x="1" y="631"/>
                    <a:pt x="183" y="813"/>
                    <a:pt x="408" y="813"/>
                  </a:cubicBezTo>
                  <a:cubicBezTo>
                    <a:pt x="631" y="813"/>
                    <a:pt x="813" y="631"/>
                    <a:pt x="813" y="406"/>
                  </a:cubicBezTo>
                  <a:cubicBezTo>
                    <a:pt x="813" y="181"/>
                    <a:pt x="631" y="1"/>
                    <a:pt x="40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11"/>
            <p:cNvSpPr/>
            <p:nvPr/>
          </p:nvSpPr>
          <p:spPr>
            <a:xfrm>
              <a:off x="2704450" y="2501175"/>
              <a:ext cx="20325" cy="20275"/>
            </a:xfrm>
            <a:custGeom>
              <a:avLst/>
              <a:gdLst/>
              <a:ahLst/>
              <a:cxnLst/>
              <a:rect l="l" t="t" r="r" b="b"/>
              <a:pathLst>
                <a:path w="813" h="811" extrusionOk="0">
                  <a:moveTo>
                    <a:pt x="406" y="0"/>
                  </a:moveTo>
                  <a:cubicBezTo>
                    <a:pt x="183" y="0"/>
                    <a:pt x="1" y="182"/>
                    <a:pt x="1" y="405"/>
                  </a:cubicBezTo>
                  <a:cubicBezTo>
                    <a:pt x="1" y="628"/>
                    <a:pt x="183" y="811"/>
                    <a:pt x="406" y="811"/>
                  </a:cubicBezTo>
                  <a:cubicBezTo>
                    <a:pt x="631" y="811"/>
                    <a:pt x="813" y="630"/>
                    <a:pt x="813" y="405"/>
                  </a:cubicBezTo>
                  <a:cubicBezTo>
                    <a:pt x="813" y="182"/>
                    <a:pt x="631" y="0"/>
                    <a:pt x="406"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 name="Google Shape;393;p11"/>
            <p:cNvSpPr/>
            <p:nvPr/>
          </p:nvSpPr>
          <p:spPr>
            <a:xfrm>
              <a:off x="2704450" y="2633775"/>
              <a:ext cx="20325" cy="20325"/>
            </a:xfrm>
            <a:custGeom>
              <a:avLst/>
              <a:gdLst/>
              <a:ahLst/>
              <a:cxnLst/>
              <a:rect l="l" t="t" r="r" b="b"/>
              <a:pathLst>
                <a:path w="813" h="813" extrusionOk="0">
                  <a:moveTo>
                    <a:pt x="406" y="1"/>
                  </a:moveTo>
                  <a:cubicBezTo>
                    <a:pt x="183" y="1"/>
                    <a:pt x="1" y="183"/>
                    <a:pt x="1" y="406"/>
                  </a:cubicBezTo>
                  <a:cubicBezTo>
                    <a:pt x="1" y="629"/>
                    <a:pt x="183" y="813"/>
                    <a:pt x="406" y="813"/>
                  </a:cubicBezTo>
                  <a:cubicBezTo>
                    <a:pt x="631" y="813"/>
                    <a:pt x="813" y="629"/>
                    <a:pt x="813" y="406"/>
                  </a:cubicBezTo>
                  <a:cubicBezTo>
                    <a:pt x="813" y="183"/>
                    <a:pt x="631" y="1"/>
                    <a:pt x="406"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94" name="Google Shape;394;p11"/>
          <p:cNvSpPr/>
          <p:nvPr/>
        </p:nvSpPr>
        <p:spPr>
          <a:xfrm rot="10800000" flipH="1">
            <a:off x="8578455" y="-2"/>
            <a:ext cx="565552" cy="580452"/>
          </a:xfrm>
          <a:custGeom>
            <a:avLst/>
            <a:gdLst/>
            <a:ahLst/>
            <a:cxnLst/>
            <a:rect l="l" t="t" r="r" b="b"/>
            <a:pathLst>
              <a:path w="17415" h="17414" extrusionOk="0">
                <a:moveTo>
                  <a:pt x="17200" y="216"/>
                </a:moveTo>
                <a:lnTo>
                  <a:pt x="17200" y="4300"/>
                </a:lnTo>
                <a:lnTo>
                  <a:pt x="13116" y="4300"/>
                </a:lnTo>
                <a:lnTo>
                  <a:pt x="13116" y="216"/>
                </a:lnTo>
                <a:close/>
                <a:moveTo>
                  <a:pt x="12899" y="4515"/>
                </a:moveTo>
                <a:lnTo>
                  <a:pt x="12899" y="8598"/>
                </a:lnTo>
                <a:lnTo>
                  <a:pt x="8816" y="8598"/>
                </a:lnTo>
                <a:lnTo>
                  <a:pt x="8816" y="4515"/>
                </a:lnTo>
                <a:close/>
                <a:moveTo>
                  <a:pt x="17200" y="4515"/>
                </a:moveTo>
                <a:lnTo>
                  <a:pt x="17200" y="8598"/>
                </a:lnTo>
                <a:lnTo>
                  <a:pt x="13116" y="8598"/>
                </a:lnTo>
                <a:lnTo>
                  <a:pt x="13116" y="4515"/>
                </a:lnTo>
                <a:close/>
                <a:moveTo>
                  <a:pt x="8600" y="8815"/>
                </a:moveTo>
                <a:lnTo>
                  <a:pt x="8600" y="12898"/>
                </a:lnTo>
                <a:lnTo>
                  <a:pt x="4518" y="12898"/>
                </a:lnTo>
                <a:lnTo>
                  <a:pt x="4518" y="8815"/>
                </a:lnTo>
                <a:close/>
                <a:moveTo>
                  <a:pt x="12899" y="8817"/>
                </a:moveTo>
                <a:lnTo>
                  <a:pt x="12899" y="12899"/>
                </a:lnTo>
                <a:lnTo>
                  <a:pt x="8816" y="12899"/>
                </a:lnTo>
                <a:lnTo>
                  <a:pt x="8816" y="8817"/>
                </a:lnTo>
                <a:close/>
                <a:moveTo>
                  <a:pt x="17200" y="8817"/>
                </a:moveTo>
                <a:lnTo>
                  <a:pt x="17200" y="12899"/>
                </a:lnTo>
                <a:lnTo>
                  <a:pt x="13116" y="12899"/>
                </a:lnTo>
                <a:lnTo>
                  <a:pt x="13116" y="8817"/>
                </a:lnTo>
                <a:close/>
                <a:moveTo>
                  <a:pt x="4301" y="13116"/>
                </a:moveTo>
                <a:lnTo>
                  <a:pt x="4301" y="17199"/>
                </a:lnTo>
                <a:lnTo>
                  <a:pt x="216" y="17199"/>
                </a:lnTo>
                <a:lnTo>
                  <a:pt x="216" y="13116"/>
                </a:lnTo>
                <a:close/>
                <a:moveTo>
                  <a:pt x="8600" y="13116"/>
                </a:moveTo>
                <a:lnTo>
                  <a:pt x="8600" y="17199"/>
                </a:lnTo>
                <a:lnTo>
                  <a:pt x="4516" y="17199"/>
                </a:lnTo>
                <a:lnTo>
                  <a:pt x="4516" y="13116"/>
                </a:lnTo>
                <a:close/>
                <a:moveTo>
                  <a:pt x="12899" y="13116"/>
                </a:moveTo>
                <a:lnTo>
                  <a:pt x="12899" y="17199"/>
                </a:lnTo>
                <a:lnTo>
                  <a:pt x="8816" y="17199"/>
                </a:lnTo>
                <a:lnTo>
                  <a:pt x="8816" y="13116"/>
                </a:lnTo>
                <a:close/>
                <a:moveTo>
                  <a:pt x="17200" y="13116"/>
                </a:moveTo>
                <a:lnTo>
                  <a:pt x="17200" y="17199"/>
                </a:lnTo>
                <a:lnTo>
                  <a:pt x="13116" y="17199"/>
                </a:lnTo>
                <a:lnTo>
                  <a:pt x="13116" y="13116"/>
                </a:lnTo>
                <a:close/>
                <a:moveTo>
                  <a:pt x="12899" y="0"/>
                </a:moveTo>
                <a:lnTo>
                  <a:pt x="12899" y="4300"/>
                </a:lnTo>
                <a:lnTo>
                  <a:pt x="8600" y="4300"/>
                </a:lnTo>
                <a:lnTo>
                  <a:pt x="8600" y="8598"/>
                </a:lnTo>
                <a:lnTo>
                  <a:pt x="4301" y="8598"/>
                </a:lnTo>
                <a:lnTo>
                  <a:pt x="4301" y="12898"/>
                </a:lnTo>
                <a:lnTo>
                  <a:pt x="1" y="12898"/>
                </a:lnTo>
                <a:lnTo>
                  <a:pt x="1" y="17413"/>
                </a:lnTo>
                <a:lnTo>
                  <a:pt x="17414" y="17413"/>
                </a:lnTo>
                <a:lnTo>
                  <a:pt x="17414" y="13113"/>
                </a:lnTo>
                <a:lnTo>
                  <a:pt x="17414" y="12898"/>
                </a:lnTo>
                <a:lnTo>
                  <a:pt x="17414" y="8815"/>
                </a:lnTo>
                <a:lnTo>
                  <a:pt x="17414" y="8598"/>
                </a:lnTo>
                <a:lnTo>
                  <a:pt x="17414" y="4515"/>
                </a:lnTo>
                <a:lnTo>
                  <a:pt x="17414" y="4300"/>
                </a:lnTo>
                <a:lnTo>
                  <a:pt x="17414" y="0"/>
                </a:ln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395" name="Google Shape;395;p11"/>
          <p:cNvCxnSpPr/>
          <p:nvPr/>
        </p:nvCxnSpPr>
        <p:spPr>
          <a:xfrm>
            <a:off x="810959" y="719996"/>
            <a:ext cx="0" cy="462300"/>
          </a:xfrm>
          <a:prstGeom prst="straightConnector1">
            <a:avLst/>
          </a:prstGeom>
          <a:noFill/>
          <a:ln w="9525" cap="flat" cmpd="sng">
            <a:solidFill>
              <a:schemeClr val="dk2"/>
            </a:solidFill>
            <a:prstDash val="solid"/>
            <a:round/>
            <a:headEnd type="none" w="med" len="med"/>
            <a:tailEnd type="none" w="med" len="med"/>
          </a:ln>
        </p:spPr>
      </p:cxnSp>
      <p:sp>
        <p:nvSpPr>
          <p:cNvPr id="396" name="Google Shape;396;p11"/>
          <p:cNvSpPr txBox="1">
            <a:spLocks noGrp="1"/>
          </p:cNvSpPr>
          <p:nvPr>
            <p:ph type="subTitle" idx="6"/>
          </p:nvPr>
        </p:nvSpPr>
        <p:spPr>
          <a:xfrm>
            <a:off x="5539750" y="720000"/>
            <a:ext cx="1106700" cy="462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latin typeface="Nunito"/>
                <a:ea typeface="Nunito"/>
                <a:cs typeface="Nunito"/>
                <a:sym typeface="Nunito"/>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Blank" type="blank">
  <p:cSld name="BLANK">
    <p:bg>
      <p:bgPr>
        <a:solidFill>
          <a:srgbClr val="FFFFFF"/>
        </a:solidFill>
        <a:effectLst/>
      </p:bgPr>
    </p:bg>
    <p:spTree>
      <p:nvGrpSpPr>
        <p:cNvPr id="1" name="Shape 397"/>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able of contents">
  <p:cSld name="BLANK_1">
    <p:spTree>
      <p:nvGrpSpPr>
        <p:cNvPr id="1" name="Shape 524"/>
        <p:cNvGrpSpPr/>
        <p:nvPr/>
      </p:nvGrpSpPr>
      <p:grpSpPr>
        <a:xfrm>
          <a:off x="0" y="0"/>
          <a:ext cx="0" cy="0"/>
          <a:chOff x="0" y="0"/>
          <a:chExt cx="0" cy="0"/>
        </a:xfrm>
      </p:grpSpPr>
      <p:sp>
        <p:nvSpPr>
          <p:cNvPr id="525" name="Google Shape;525;p16"/>
          <p:cNvSpPr txBox="1">
            <a:spLocks noGrp="1"/>
          </p:cNvSpPr>
          <p:nvPr>
            <p:ph type="title"/>
          </p:nvPr>
        </p:nvSpPr>
        <p:spPr>
          <a:xfrm>
            <a:off x="3137800" y="1213075"/>
            <a:ext cx="2330400" cy="7035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2400">
                <a:solidFill>
                  <a:schemeClr val="accent3"/>
                </a:solidFill>
              </a:defRPr>
            </a:lvl1pPr>
            <a:lvl2pPr lvl="1" rtl="0">
              <a:spcBef>
                <a:spcPts val="0"/>
              </a:spcBef>
              <a:spcAft>
                <a:spcPts val="0"/>
              </a:spcAft>
              <a:buSzPts val="2400"/>
              <a:buNone/>
              <a:defRPr sz="2400"/>
            </a:lvl2pPr>
            <a:lvl3pPr lvl="2" rtl="0">
              <a:spcBef>
                <a:spcPts val="0"/>
              </a:spcBef>
              <a:spcAft>
                <a:spcPts val="0"/>
              </a:spcAft>
              <a:buSzPts val="2400"/>
              <a:buNone/>
              <a:defRPr sz="2400"/>
            </a:lvl3pPr>
            <a:lvl4pPr lvl="3" rtl="0">
              <a:spcBef>
                <a:spcPts val="0"/>
              </a:spcBef>
              <a:spcAft>
                <a:spcPts val="0"/>
              </a:spcAft>
              <a:buSzPts val="2400"/>
              <a:buNone/>
              <a:defRPr sz="2400"/>
            </a:lvl4pPr>
            <a:lvl5pPr lvl="4" rtl="0">
              <a:spcBef>
                <a:spcPts val="0"/>
              </a:spcBef>
              <a:spcAft>
                <a:spcPts val="0"/>
              </a:spcAft>
              <a:buSzPts val="2400"/>
              <a:buNone/>
              <a:defRPr sz="2400"/>
            </a:lvl5pPr>
            <a:lvl6pPr lvl="5" rtl="0">
              <a:spcBef>
                <a:spcPts val="0"/>
              </a:spcBef>
              <a:spcAft>
                <a:spcPts val="0"/>
              </a:spcAft>
              <a:buSzPts val="2400"/>
              <a:buNone/>
              <a:defRPr sz="2400"/>
            </a:lvl6pPr>
            <a:lvl7pPr lvl="6" rtl="0">
              <a:spcBef>
                <a:spcPts val="0"/>
              </a:spcBef>
              <a:spcAft>
                <a:spcPts val="0"/>
              </a:spcAft>
              <a:buSzPts val="2400"/>
              <a:buNone/>
              <a:defRPr sz="2400"/>
            </a:lvl7pPr>
            <a:lvl8pPr lvl="7" rtl="0">
              <a:spcBef>
                <a:spcPts val="0"/>
              </a:spcBef>
              <a:spcAft>
                <a:spcPts val="0"/>
              </a:spcAft>
              <a:buSzPts val="2400"/>
              <a:buNone/>
              <a:defRPr sz="2400"/>
            </a:lvl8pPr>
            <a:lvl9pPr lvl="8" rtl="0">
              <a:spcBef>
                <a:spcPts val="0"/>
              </a:spcBef>
              <a:spcAft>
                <a:spcPts val="0"/>
              </a:spcAft>
              <a:buSzPts val="2400"/>
              <a:buNone/>
              <a:defRPr sz="2400"/>
            </a:lvl9pPr>
          </a:lstStyle>
          <a:p>
            <a:endParaRPr/>
          </a:p>
        </p:txBody>
      </p:sp>
      <p:sp>
        <p:nvSpPr>
          <p:cNvPr id="526" name="Google Shape;526;p16"/>
          <p:cNvSpPr txBox="1">
            <a:spLocks noGrp="1"/>
          </p:cNvSpPr>
          <p:nvPr>
            <p:ph type="title" idx="2" hasCustomPrompt="1"/>
          </p:nvPr>
        </p:nvSpPr>
        <p:spPr>
          <a:xfrm>
            <a:off x="3137775" y="720000"/>
            <a:ext cx="1275300" cy="7488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3000">
                <a:solidFill>
                  <a:schemeClr val="dk2"/>
                </a:solidFill>
              </a:defRPr>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527" name="Google Shape;527;p16"/>
          <p:cNvSpPr txBox="1">
            <a:spLocks noGrp="1"/>
          </p:cNvSpPr>
          <p:nvPr>
            <p:ph type="subTitle" idx="1"/>
          </p:nvPr>
        </p:nvSpPr>
        <p:spPr>
          <a:xfrm>
            <a:off x="3137788" y="1762975"/>
            <a:ext cx="2336400" cy="6465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1600"/>
              </a:spcBef>
              <a:spcAft>
                <a:spcPts val="0"/>
              </a:spcAft>
              <a:buSzPts val="1400"/>
              <a:buNone/>
              <a:defRPr/>
            </a:lvl2pPr>
            <a:lvl3pPr lvl="2" rtl="0">
              <a:lnSpc>
                <a:spcPct val="100000"/>
              </a:lnSpc>
              <a:spcBef>
                <a:spcPts val="1600"/>
              </a:spcBef>
              <a:spcAft>
                <a:spcPts val="0"/>
              </a:spcAft>
              <a:buSzPts val="1400"/>
              <a:buNone/>
              <a:defRPr/>
            </a:lvl3pPr>
            <a:lvl4pPr lvl="3" rtl="0">
              <a:lnSpc>
                <a:spcPct val="100000"/>
              </a:lnSpc>
              <a:spcBef>
                <a:spcPts val="1600"/>
              </a:spcBef>
              <a:spcAft>
                <a:spcPts val="0"/>
              </a:spcAft>
              <a:buSzPts val="1400"/>
              <a:buNone/>
              <a:defRPr/>
            </a:lvl4pPr>
            <a:lvl5pPr lvl="4" rtl="0">
              <a:lnSpc>
                <a:spcPct val="100000"/>
              </a:lnSpc>
              <a:spcBef>
                <a:spcPts val="1600"/>
              </a:spcBef>
              <a:spcAft>
                <a:spcPts val="0"/>
              </a:spcAft>
              <a:buSzPts val="1400"/>
              <a:buNone/>
              <a:defRPr/>
            </a:lvl5pPr>
            <a:lvl6pPr lvl="5" rtl="0">
              <a:lnSpc>
                <a:spcPct val="100000"/>
              </a:lnSpc>
              <a:spcBef>
                <a:spcPts val="1600"/>
              </a:spcBef>
              <a:spcAft>
                <a:spcPts val="0"/>
              </a:spcAft>
              <a:buSzPts val="1400"/>
              <a:buNone/>
              <a:defRPr/>
            </a:lvl6pPr>
            <a:lvl7pPr lvl="6" rtl="0">
              <a:lnSpc>
                <a:spcPct val="100000"/>
              </a:lnSpc>
              <a:spcBef>
                <a:spcPts val="1600"/>
              </a:spcBef>
              <a:spcAft>
                <a:spcPts val="0"/>
              </a:spcAft>
              <a:buSzPts val="1400"/>
              <a:buNone/>
              <a:defRPr/>
            </a:lvl7pPr>
            <a:lvl8pPr lvl="7" rtl="0">
              <a:lnSpc>
                <a:spcPct val="100000"/>
              </a:lnSpc>
              <a:spcBef>
                <a:spcPts val="1600"/>
              </a:spcBef>
              <a:spcAft>
                <a:spcPts val="0"/>
              </a:spcAft>
              <a:buSzPts val="1400"/>
              <a:buNone/>
              <a:defRPr/>
            </a:lvl8pPr>
            <a:lvl9pPr lvl="8" rtl="0">
              <a:lnSpc>
                <a:spcPct val="100000"/>
              </a:lnSpc>
              <a:spcBef>
                <a:spcPts val="1600"/>
              </a:spcBef>
              <a:spcAft>
                <a:spcPts val="1600"/>
              </a:spcAft>
              <a:buSzPts val="1400"/>
              <a:buNone/>
              <a:defRPr/>
            </a:lvl9pPr>
          </a:lstStyle>
          <a:p>
            <a:endParaRPr/>
          </a:p>
        </p:txBody>
      </p:sp>
      <p:sp>
        <p:nvSpPr>
          <p:cNvPr id="528" name="Google Shape;528;p16"/>
          <p:cNvSpPr txBox="1">
            <a:spLocks noGrp="1"/>
          </p:cNvSpPr>
          <p:nvPr>
            <p:ph type="title" idx="3"/>
          </p:nvPr>
        </p:nvSpPr>
        <p:spPr>
          <a:xfrm>
            <a:off x="5913075" y="3086650"/>
            <a:ext cx="2760300" cy="7035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2400"/>
            </a:lvl1pPr>
            <a:lvl2pPr lvl="1" rtl="0">
              <a:spcBef>
                <a:spcPts val="0"/>
              </a:spcBef>
              <a:spcAft>
                <a:spcPts val="0"/>
              </a:spcAft>
              <a:buSzPts val="2400"/>
              <a:buNone/>
              <a:defRPr sz="2400"/>
            </a:lvl2pPr>
            <a:lvl3pPr lvl="2" rtl="0">
              <a:spcBef>
                <a:spcPts val="0"/>
              </a:spcBef>
              <a:spcAft>
                <a:spcPts val="0"/>
              </a:spcAft>
              <a:buSzPts val="2400"/>
              <a:buNone/>
              <a:defRPr sz="2400"/>
            </a:lvl3pPr>
            <a:lvl4pPr lvl="3" rtl="0">
              <a:spcBef>
                <a:spcPts val="0"/>
              </a:spcBef>
              <a:spcAft>
                <a:spcPts val="0"/>
              </a:spcAft>
              <a:buSzPts val="2400"/>
              <a:buNone/>
              <a:defRPr sz="2400"/>
            </a:lvl4pPr>
            <a:lvl5pPr lvl="4" rtl="0">
              <a:spcBef>
                <a:spcPts val="0"/>
              </a:spcBef>
              <a:spcAft>
                <a:spcPts val="0"/>
              </a:spcAft>
              <a:buSzPts val="2400"/>
              <a:buNone/>
              <a:defRPr sz="2400"/>
            </a:lvl5pPr>
            <a:lvl6pPr lvl="5" rtl="0">
              <a:spcBef>
                <a:spcPts val="0"/>
              </a:spcBef>
              <a:spcAft>
                <a:spcPts val="0"/>
              </a:spcAft>
              <a:buSzPts val="2400"/>
              <a:buNone/>
              <a:defRPr sz="2400"/>
            </a:lvl6pPr>
            <a:lvl7pPr lvl="6" rtl="0">
              <a:spcBef>
                <a:spcPts val="0"/>
              </a:spcBef>
              <a:spcAft>
                <a:spcPts val="0"/>
              </a:spcAft>
              <a:buSzPts val="2400"/>
              <a:buNone/>
              <a:defRPr sz="2400"/>
            </a:lvl7pPr>
            <a:lvl8pPr lvl="7" rtl="0">
              <a:spcBef>
                <a:spcPts val="0"/>
              </a:spcBef>
              <a:spcAft>
                <a:spcPts val="0"/>
              </a:spcAft>
              <a:buSzPts val="2400"/>
              <a:buNone/>
              <a:defRPr sz="2400"/>
            </a:lvl8pPr>
            <a:lvl9pPr lvl="8" rtl="0">
              <a:spcBef>
                <a:spcPts val="0"/>
              </a:spcBef>
              <a:spcAft>
                <a:spcPts val="0"/>
              </a:spcAft>
              <a:buSzPts val="2400"/>
              <a:buNone/>
              <a:defRPr sz="2400"/>
            </a:lvl9pPr>
          </a:lstStyle>
          <a:p>
            <a:endParaRPr/>
          </a:p>
        </p:txBody>
      </p:sp>
      <p:sp>
        <p:nvSpPr>
          <p:cNvPr id="529" name="Google Shape;529;p16"/>
          <p:cNvSpPr txBox="1">
            <a:spLocks noGrp="1"/>
          </p:cNvSpPr>
          <p:nvPr>
            <p:ph type="title" idx="4" hasCustomPrompt="1"/>
          </p:nvPr>
        </p:nvSpPr>
        <p:spPr>
          <a:xfrm>
            <a:off x="5913075" y="2591056"/>
            <a:ext cx="1275300" cy="7488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3000">
                <a:solidFill>
                  <a:schemeClr val="dk2"/>
                </a:solidFill>
              </a:defRPr>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530" name="Google Shape;530;p16"/>
          <p:cNvSpPr txBox="1">
            <a:spLocks noGrp="1"/>
          </p:cNvSpPr>
          <p:nvPr>
            <p:ph type="subTitle" idx="5"/>
          </p:nvPr>
        </p:nvSpPr>
        <p:spPr>
          <a:xfrm>
            <a:off x="5913075" y="3636546"/>
            <a:ext cx="2336400" cy="6465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1600"/>
              </a:spcBef>
              <a:spcAft>
                <a:spcPts val="0"/>
              </a:spcAft>
              <a:buSzPts val="1400"/>
              <a:buNone/>
              <a:defRPr/>
            </a:lvl2pPr>
            <a:lvl3pPr lvl="2" rtl="0">
              <a:lnSpc>
                <a:spcPct val="100000"/>
              </a:lnSpc>
              <a:spcBef>
                <a:spcPts val="1600"/>
              </a:spcBef>
              <a:spcAft>
                <a:spcPts val="0"/>
              </a:spcAft>
              <a:buSzPts val="1400"/>
              <a:buNone/>
              <a:defRPr/>
            </a:lvl3pPr>
            <a:lvl4pPr lvl="3" rtl="0">
              <a:lnSpc>
                <a:spcPct val="100000"/>
              </a:lnSpc>
              <a:spcBef>
                <a:spcPts val="1600"/>
              </a:spcBef>
              <a:spcAft>
                <a:spcPts val="0"/>
              </a:spcAft>
              <a:buSzPts val="1400"/>
              <a:buNone/>
              <a:defRPr/>
            </a:lvl4pPr>
            <a:lvl5pPr lvl="4" rtl="0">
              <a:lnSpc>
                <a:spcPct val="100000"/>
              </a:lnSpc>
              <a:spcBef>
                <a:spcPts val="1600"/>
              </a:spcBef>
              <a:spcAft>
                <a:spcPts val="0"/>
              </a:spcAft>
              <a:buSzPts val="1400"/>
              <a:buNone/>
              <a:defRPr/>
            </a:lvl5pPr>
            <a:lvl6pPr lvl="5" rtl="0">
              <a:lnSpc>
                <a:spcPct val="100000"/>
              </a:lnSpc>
              <a:spcBef>
                <a:spcPts val="1600"/>
              </a:spcBef>
              <a:spcAft>
                <a:spcPts val="0"/>
              </a:spcAft>
              <a:buSzPts val="1400"/>
              <a:buNone/>
              <a:defRPr/>
            </a:lvl6pPr>
            <a:lvl7pPr lvl="6" rtl="0">
              <a:lnSpc>
                <a:spcPct val="100000"/>
              </a:lnSpc>
              <a:spcBef>
                <a:spcPts val="1600"/>
              </a:spcBef>
              <a:spcAft>
                <a:spcPts val="0"/>
              </a:spcAft>
              <a:buSzPts val="1400"/>
              <a:buNone/>
              <a:defRPr/>
            </a:lvl7pPr>
            <a:lvl8pPr lvl="7" rtl="0">
              <a:lnSpc>
                <a:spcPct val="100000"/>
              </a:lnSpc>
              <a:spcBef>
                <a:spcPts val="1600"/>
              </a:spcBef>
              <a:spcAft>
                <a:spcPts val="0"/>
              </a:spcAft>
              <a:buSzPts val="1400"/>
              <a:buNone/>
              <a:defRPr/>
            </a:lvl8pPr>
            <a:lvl9pPr lvl="8" rtl="0">
              <a:lnSpc>
                <a:spcPct val="100000"/>
              </a:lnSpc>
              <a:spcBef>
                <a:spcPts val="1600"/>
              </a:spcBef>
              <a:spcAft>
                <a:spcPts val="1600"/>
              </a:spcAft>
              <a:buSzPts val="1400"/>
              <a:buNone/>
              <a:defRPr/>
            </a:lvl9pPr>
          </a:lstStyle>
          <a:p>
            <a:endParaRPr/>
          </a:p>
        </p:txBody>
      </p:sp>
      <p:sp>
        <p:nvSpPr>
          <p:cNvPr id="531" name="Google Shape;531;p16"/>
          <p:cNvSpPr txBox="1">
            <a:spLocks noGrp="1"/>
          </p:cNvSpPr>
          <p:nvPr>
            <p:ph type="title" idx="6"/>
          </p:nvPr>
        </p:nvSpPr>
        <p:spPr>
          <a:xfrm>
            <a:off x="3137800" y="3070550"/>
            <a:ext cx="2330400" cy="7035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2400"/>
            </a:lvl1pPr>
            <a:lvl2pPr lvl="1" rtl="0">
              <a:spcBef>
                <a:spcPts val="0"/>
              </a:spcBef>
              <a:spcAft>
                <a:spcPts val="0"/>
              </a:spcAft>
              <a:buSzPts val="2400"/>
              <a:buNone/>
              <a:defRPr sz="2400"/>
            </a:lvl2pPr>
            <a:lvl3pPr lvl="2" rtl="0">
              <a:spcBef>
                <a:spcPts val="0"/>
              </a:spcBef>
              <a:spcAft>
                <a:spcPts val="0"/>
              </a:spcAft>
              <a:buSzPts val="2400"/>
              <a:buNone/>
              <a:defRPr sz="2400"/>
            </a:lvl3pPr>
            <a:lvl4pPr lvl="3" rtl="0">
              <a:spcBef>
                <a:spcPts val="0"/>
              </a:spcBef>
              <a:spcAft>
                <a:spcPts val="0"/>
              </a:spcAft>
              <a:buSzPts val="2400"/>
              <a:buNone/>
              <a:defRPr sz="2400"/>
            </a:lvl4pPr>
            <a:lvl5pPr lvl="4" rtl="0">
              <a:spcBef>
                <a:spcPts val="0"/>
              </a:spcBef>
              <a:spcAft>
                <a:spcPts val="0"/>
              </a:spcAft>
              <a:buSzPts val="2400"/>
              <a:buNone/>
              <a:defRPr sz="2400"/>
            </a:lvl5pPr>
            <a:lvl6pPr lvl="5" rtl="0">
              <a:spcBef>
                <a:spcPts val="0"/>
              </a:spcBef>
              <a:spcAft>
                <a:spcPts val="0"/>
              </a:spcAft>
              <a:buSzPts val="2400"/>
              <a:buNone/>
              <a:defRPr sz="2400"/>
            </a:lvl6pPr>
            <a:lvl7pPr lvl="6" rtl="0">
              <a:spcBef>
                <a:spcPts val="0"/>
              </a:spcBef>
              <a:spcAft>
                <a:spcPts val="0"/>
              </a:spcAft>
              <a:buSzPts val="2400"/>
              <a:buNone/>
              <a:defRPr sz="2400"/>
            </a:lvl7pPr>
            <a:lvl8pPr lvl="7" rtl="0">
              <a:spcBef>
                <a:spcPts val="0"/>
              </a:spcBef>
              <a:spcAft>
                <a:spcPts val="0"/>
              </a:spcAft>
              <a:buSzPts val="2400"/>
              <a:buNone/>
              <a:defRPr sz="2400"/>
            </a:lvl8pPr>
            <a:lvl9pPr lvl="8" rtl="0">
              <a:spcBef>
                <a:spcPts val="0"/>
              </a:spcBef>
              <a:spcAft>
                <a:spcPts val="0"/>
              </a:spcAft>
              <a:buSzPts val="2400"/>
              <a:buNone/>
              <a:defRPr sz="2400"/>
            </a:lvl9pPr>
          </a:lstStyle>
          <a:p>
            <a:endParaRPr/>
          </a:p>
        </p:txBody>
      </p:sp>
      <p:sp>
        <p:nvSpPr>
          <p:cNvPr id="532" name="Google Shape;532;p16"/>
          <p:cNvSpPr txBox="1">
            <a:spLocks noGrp="1"/>
          </p:cNvSpPr>
          <p:nvPr>
            <p:ph type="title" idx="7" hasCustomPrompt="1"/>
          </p:nvPr>
        </p:nvSpPr>
        <p:spPr>
          <a:xfrm>
            <a:off x="3137775" y="2591055"/>
            <a:ext cx="1275300" cy="7488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3000">
                <a:solidFill>
                  <a:schemeClr val="dk2"/>
                </a:solidFill>
              </a:defRPr>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533" name="Google Shape;533;p16"/>
          <p:cNvSpPr txBox="1">
            <a:spLocks noGrp="1"/>
          </p:cNvSpPr>
          <p:nvPr>
            <p:ph type="subTitle" idx="8"/>
          </p:nvPr>
        </p:nvSpPr>
        <p:spPr>
          <a:xfrm>
            <a:off x="3137788" y="3620448"/>
            <a:ext cx="2336400" cy="6465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1600"/>
              </a:spcBef>
              <a:spcAft>
                <a:spcPts val="0"/>
              </a:spcAft>
              <a:buSzPts val="1400"/>
              <a:buNone/>
              <a:defRPr/>
            </a:lvl2pPr>
            <a:lvl3pPr lvl="2" rtl="0">
              <a:lnSpc>
                <a:spcPct val="100000"/>
              </a:lnSpc>
              <a:spcBef>
                <a:spcPts val="1600"/>
              </a:spcBef>
              <a:spcAft>
                <a:spcPts val="0"/>
              </a:spcAft>
              <a:buSzPts val="1400"/>
              <a:buNone/>
              <a:defRPr/>
            </a:lvl3pPr>
            <a:lvl4pPr lvl="3" rtl="0">
              <a:lnSpc>
                <a:spcPct val="100000"/>
              </a:lnSpc>
              <a:spcBef>
                <a:spcPts val="1600"/>
              </a:spcBef>
              <a:spcAft>
                <a:spcPts val="0"/>
              </a:spcAft>
              <a:buSzPts val="1400"/>
              <a:buNone/>
              <a:defRPr/>
            </a:lvl4pPr>
            <a:lvl5pPr lvl="4" rtl="0">
              <a:lnSpc>
                <a:spcPct val="100000"/>
              </a:lnSpc>
              <a:spcBef>
                <a:spcPts val="1600"/>
              </a:spcBef>
              <a:spcAft>
                <a:spcPts val="0"/>
              </a:spcAft>
              <a:buSzPts val="1400"/>
              <a:buNone/>
              <a:defRPr/>
            </a:lvl5pPr>
            <a:lvl6pPr lvl="5" rtl="0">
              <a:lnSpc>
                <a:spcPct val="100000"/>
              </a:lnSpc>
              <a:spcBef>
                <a:spcPts val="1600"/>
              </a:spcBef>
              <a:spcAft>
                <a:spcPts val="0"/>
              </a:spcAft>
              <a:buSzPts val="1400"/>
              <a:buNone/>
              <a:defRPr/>
            </a:lvl6pPr>
            <a:lvl7pPr lvl="6" rtl="0">
              <a:lnSpc>
                <a:spcPct val="100000"/>
              </a:lnSpc>
              <a:spcBef>
                <a:spcPts val="1600"/>
              </a:spcBef>
              <a:spcAft>
                <a:spcPts val="0"/>
              </a:spcAft>
              <a:buSzPts val="1400"/>
              <a:buNone/>
              <a:defRPr/>
            </a:lvl7pPr>
            <a:lvl8pPr lvl="7" rtl="0">
              <a:lnSpc>
                <a:spcPct val="100000"/>
              </a:lnSpc>
              <a:spcBef>
                <a:spcPts val="1600"/>
              </a:spcBef>
              <a:spcAft>
                <a:spcPts val="0"/>
              </a:spcAft>
              <a:buSzPts val="1400"/>
              <a:buNone/>
              <a:defRPr/>
            </a:lvl8pPr>
            <a:lvl9pPr lvl="8" rtl="0">
              <a:lnSpc>
                <a:spcPct val="100000"/>
              </a:lnSpc>
              <a:spcBef>
                <a:spcPts val="1600"/>
              </a:spcBef>
              <a:spcAft>
                <a:spcPts val="1600"/>
              </a:spcAft>
              <a:buSzPts val="1400"/>
              <a:buNone/>
              <a:defRPr/>
            </a:lvl9pPr>
          </a:lstStyle>
          <a:p>
            <a:endParaRPr/>
          </a:p>
        </p:txBody>
      </p:sp>
      <p:cxnSp>
        <p:nvCxnSpPr>
          <p:cNvPr id="534" name="Google Shape;534;p16"/>
          <p:cNvCxnSpPr/>
          <p:nvPr/>
        </p:nvCxnSpPr>
        <p:spPr>
          <a:xfrm>
            <a:off x="8516600" y="6520375"/>
            <a:ext cx="306000" cy="0"/>
          </a:xfrm>
          <a:prstGeom prst="straightConnector1">
            <a:avLst/>
          </a:prstGeom>
          <a:noFill/>
          <a:ln w="9525" cap="flat" cmpd="sng">
            <a:solidFill>
              <a:schemeClr val="dk2"/>
            </a:solidFill>
            <a:prstDash val="solid"/>
            <a:round/>
            <a:headEnd type="none" w="med" len="med"/>
            <a:tailEnd type="stealth" w="med" len="med"/>
          </a:ln>
        </p:spPr>
      </p:cxnSp>
      <p:cxnSp>
        <p:nvCxnSpPr>
          <p:cNvPr id="535" name="Google Shape;535;p16"/>
          <p:cNvCxnSpPr/>
          <p:nvPr/>
        </p:nvCxnSpPr>
        <p:spPr>
          <a:xfrm rot="10800000">
            <a:off x="8025400" y="6520375"/>
            <a:ext cx="306000" cy="0"/>
          </a:xfrm>
          <a:prstGeom prst="straightConnector1">
            <a:avLst/>
          </a:prstGeom>
          <a:noFill/>
          <a:ln w="9525" cap="flat" cmpd="sng">
            <a:solidFill>
              <a:schemeClr val="dk2"/>
            </a:solidFill>
            <a:prstDash val="solid"/>
            <a:round/>
            <a:headEnd type="none" w="med" len="med"/>
            <a:tailEnd type="stealth" w="med" len="med"/>
          </a:ln>
        </p:spPr>
      </p:cxnSp>
      <p:sp>
        <p:nvSpPr>
          <p:cNvPr id="536" name="Google Shape;536;p16"/>
          <p:cNvSpPr/>
          <p:nvPr/>
        </p:nvSpPr>
        <p:spPr>
          <a:xfrm>
            <a:off x="0" y="-55200"/>
            <a:ext cx="3345000" cy="6968400"/>
          </a:xfrm>
          <a:prstGeom prst="rtTriangle">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37" name="Google Shape;537;p16"/>
          <p:cNvGrpSpPr/>
          <p:nvPr/>
        </p:nvGrpSpPr>
        <p:grpSpPr>
          <a:xfrm>
            <a:off x="1849875" y="4941600"/>
            <a:ext cx="178300" cy="1850554"/>
            <a:chOff x="5334200" y="1501775"/>
            <a:chExt cx="178300" cy="1387950"/>
          </a:xfrm>
        </p:grpSpPr>
        <p:sp>
          <p:nvSpPr>
            <p:cNvPr id="538" name="Google Shape;538;p16"/>
            <p:cNvSpPr/>
            <p:nvPr/>
          </p:nvSpPr>
          <p:spPr>
            <a:xfrm>
              <a:off x="5334200" y="1501775"/>
              <a:ext cx="178300" cy="188475"/>
            </a:xfrm>
            <a:custGeom>
              <a:avLst/>
              <a:gdLst/>
              <a:ahLst/>
              <a:cxnLst/>
              <a:rect l="l" t="t" r="r" b="b"/>
              <a:pathLst>
                <a:path w="7132" h="7539" extrusionOk="0">
                  <a:moveTo>
                    <a:pt x="0" y="0"/>
                  </a:moveTo>
                  <a:lnTo>
                    <a:pt x="0" y="406"/>
                  </a:lnTo>
                  <a:lnTo>
                    <a:pt x="7132" y="7539"/>
                  </a:lnTo>
                  <a:lnTo>
                    <a:pt x="7132" y="7132"/>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539;p16"/>
            <p:cNvSpPr/>
            <p:nvPr/>
          </p:nvSpPr>
          <p:spPr>
            <a:xfrm>
              <a:off x="5334200" y="1594000"/>
              <a:ext cx="178300" cy="188550"/>
            </a:xfrm>
            <a:custGeom>
              <a:avLst/>
              <a:gdLst/>
              <a:ahLst/>
              <a:cxnLst/>
              <a:rect l="l" t="t" r="r" b="b"/>
              <a:pathLst>
                <a:path w="7132" h="7542" extrusionOk="0">
                  <a:moveTo>
                    <a:pt x="0" y="1"/>
                  </a:moveTo>
                  <a:lnTo>
                    <a:pt x="0" y="409"/>
                  </a:lnTo>
                  <a:lnTo>
                    <a:pt x="7132" y="7541"/>
                  </a:lnTo>
                  <a:lnTo>
                    <a:pt x="7132" y="7133"/>
                  </a:lnTo>
                  <a:lnTo>
                    <a:pt x="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540;p16"/>
            <p:cNvSpPr/>
            <p:nvPr/>
          </p:nvSpPr>
          <p:spPr>
            <a:xfrm>
              <a:off x="5334200" y="1686250"/>
              <a:ext cx="178300" cy="188525"/>
            </a:xfrm>
            <a:custGeom>
              <a:avLst/>
              <a:gdLst/>
              <a:ahLst/>
              <a:cxnLst/>
              <a:rect l="l" t="t" r="r" b="b"/>
              <a:pathLst>
                <a:path w="7132" h="7541" extrusionOk="0">
                  <a:moveTo>
                    <a:pt x="0" y="1"/>
                  </a:moveTo>
                  <a:lnTo>
                    <a:pt x="0" y="409"/>
                  </a:lnTo>
                  <a:lnTo>
                    <a:pt x="7132" y="7541"/>
                  </a:lnTo>
                  <a:lnTo>
                    <a:pt x="7132" y="7134"/>
                  </a:lnTo>
                  <a:lnTo>
                    <a:pt x="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541;p16"/>
            <p:cNvSpPr/>
            <p:nvPr/>
          </p:nvSpPr>
          <p:spPr>
            <a:xfrm>
              <a:off x="5334200" y="1778575"/>
              <a:ext cx="178300" cy="188475"/>
            </a:xfrm>
            <a:custGeom>
              <a:avLst/>
              <a:gdLst/>
              <a:ahLst/>
              <a:cxnLst/>
              <a:rect l="l" t="t" r="r" b="b"/>
              <a:pathLst>
                <a:path w="7132" h="7539" extrusionOk="0">
                  <a:moveTo>
                    <a:pt x="0" y="0"/>
                  </a:moveTo>
                  <a:lnTo>
                    <a:pt x="0" y="405"/>
                  </a:lnTo>
                  <a:lnTo>
                    <a:pt x="7132" y="7539"/>
                  </a:lnTo>
                  <a:lnTo>
                    <a:pt x="7132" y="7132"/>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542;p16"/>
            <p:cNvSpPr/>
            <p:nvPr/>
          </p:nvSpPr>
          <p:spPr>
            <a:xfrm>
              <a:off x="5334200" y="1870800"/>
              <a:ext cx="178300" cy="188525"/>
            </a:xfrm>
            <a:custGeom>
              <a:avLst/>
              <a:gdLst/>
              <a:ahLst/>
              <a:cxnLst/>
              <a:rect l="l" t="t" r="r" b="b"/>
              <a:pathLst>
                <a:path w="7132" h="7541" extrusionOk="0">
                  <a:moveTo>
                    <a:pt x="0" y="1"/>
                  </a:moveTo>
                  <a:lnTo>
                    <a:pt x="0" y="409"/>
                  </a:lnTo>
                  <a:lnTo>
                    <a:pt x="7132" y="7541"/>
                  </a:lnTo>
                  <a:lnTo>
                    <a:pt x="7132" y="7133"/>
                  </a:lnTo>
                  <a:lnTo>
                    <a:pt x="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543;p16"/>
            <p:cNvSpPr/>
            <p:nvPr/>
          </p:nvSpPr>
          <p:spPr>
            <a:xfrm>
              <a:off x="5334200" y="1963050"/>
              <a:ext cx="178300" cy="188525"/>
            </a:xfrm>
            <a:custGeom>
              <a:avLst/>
              <a:gdLst/>
              <a:ahLst/>
              <a:cxnLst/>
              <a:rect l="l" t="t" r="r" b="b"/>
              <a:pathLst>
                <a:path w="7132" h="7541" extrusionOk="0">
                  <a:moveTo>
                    <a:pt x="0" y="0"/>
                  </a:moveTo>
                  <a:lnTo>
                    <a:pt x="0" y="409"/>
                  </a:lnTo>
                  <a:lnTo>
                    <a:pt x="7132" y="7541"/>
                  </a:lnTo>
                  <a:lnTo>
                    <a:pt x="7132" y="7134"/>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544;p16"/>
            <p:cNvSpPr/>
            <p:nvPr/>
          </p:nvSpPr>
          <p:spPr>
            <a:xfrm>
              <a:off x="5334200" y="2055375"/>
              <a:ext cx="178300" cy="188475"/>
            </a:xfrm>
            <a:custGeom>
              <a:avLst/>
              <a:gdLst/>
              <a:ahLst/>
              <a:cxnLst/>
              <a:rect l="l" t="t" r="r" b="b"/>
              <a:pathLst>
                <a:path w="7132" h="7539" extrusionOk="0">
                  <a:moveTo>
                    <a:pt x="0" y="0"/>
                  </a:moveTo>
                  <a:lnTo>
                    <a:pt x="0" y="408"/>
                  </a:lnTo>
                  <a:lnTo>
                    <a:pt x="7132" y="7539"/>
                  </a:lnTo>
                  <a:lnTo>
                    <a:pt x="7132" y="7132"/>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545;p16"/>
            <p:cNvSpPr/>
            <p:nvPr/>
          </p:nvSpPr>
          <p:spPr>
            <a:xfrm>
              <a:off x="5334200" y="2147600"/>
              <a:ext cx="178300" cy="188525"/>
            </a:xfrm>
            <a:custGeom>
              <a:avLst/>
              <a:gdLst/>
              <a:ahLst/>
              <a:cxnLst/>
              <a:rect l="l" t="t" r="r" b="b"/>
              <a:pathLst>
                <a:path w="7132" h="7541" extrusionOk="0">
                  <a:moveTo>
                    <a:pt x="0" y="1"/>
                  </a:moveTo>
                  <a:lnTo>
                    <a:pt x="0" y="409"/>
                  </a:lnTo>
                  <a:lnTo>
                    <a:pt x="7132" y="7541"/>
                  </a:lnTo>
                  <a:lnTo>
                    <a:pt x="7132" y="7133"/>
                  </a:lnTo>
                  <a:lnTo>
                    <a:pt x="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546;p16"/>
            <p:cNvSpPr/>
            <p:nvPr/>
          </p:nvSpPr>
          <p:spPr>
            <a:xfrm>
              <a:off x="5334200" y="2239925"/>
              <a:ext cx="178300" cy="188450"/>
            </a:xfrm>
            <a:custGeom>
              <a:avLst/>
              <a:gdLst/>
              <a:ahLst/>
              <a:cxnLst/>
              <a:rect l="l" t="t" r="r" b="b"/>
              <a:pathLst>
                <a:path w="7132" h="7538" extrusionOk="0">
                  <a:moveTo>
                    <a:pt x="0" y="0"/>
                  </a:moveTo>
                  <a:lnTo>
                    <a:pt x="0" y="406"/>
                  </a:lnTo>
                  <a:lnTo>
                    <a:pt x="7132" y="7538"/>
                  </a:lnTo>
                  <a:lnTo>
                    <a:pt x="7132" y="7131"/>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547;p16"/>
            <p:cNvSpPr/>
            <p:nvPr/>
          </p:nvSpPr>
          <p:spPr>
            <a:xfrm>
              <a:off x="5334200" y="2332175"/>
              <a:ext cx="178300" cy="188475"/>
            </a:xfrm>
            <a:custGeom>
              <a:avLst/>
              <a:gdLst/>
              <a:ahLst/>
              <a:cxnLst/>
              <a:rect l="l" t="t" r="r" b="b"/>
              <a:pathLst>
                <a:path w="7132" h="7539" extrusionOk="0">
                  <a:moveTo>
                    <a:pt x="0" y="0"/>
                  </a:moveTo>
                  <a:lnTo>
                    <a:pt x="0" y="408"/>
                  </a:lnTo>
                  <a:lnTo>
                    <a:pt x="7132" y="7539"/>
                  </a:lnTo>
                  <a:lnTo>
                    <a:pt x="7132" y="7132"/>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548;p16"/>
            <p:cNvSpPr/>
            <p:nvPr/>
          </p:nvSpPr>
          <p:spPr>
            <a:xfrm>
              <a:off x="5334200" y="2424400"/>
              <a:ext cx="178300" cy="188525"/>
            </a:xfrm>
            <a:custGeom>
              <a:avLst/>
              <a:gdLst/>
              <a:ahLst/>
              <a:cxnLst/>
              <a:rect l="l" t="t" r="r" b="b"/>
              <a:pathLst>
                <a:path w="7132" h="7541" extrusionOk="0">
                  <a:moveTo>
                    <a:pt x="0" y="1"/>
                  </a:moveTo>
                  <a:lnTo>
                    <a:pt x="0" y="409"/>
                  </a:lnTo>
                  <a:lnTo>
                    <a:pt x="7132" y="7541"/>
                  </a:lnTo>
                  <a:lnTo>
                    <a:pt x="7132" y="7133"/>
                  </a:lnTo>
                  <a:lnTo>
                    <a:pt x="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549;p16"/>
            <p:cNvSpPr/>
            <p:nvPr/>
          </p:nvSpPr>
          <p:spPr>
            <a:xfrm>
              <a:off x="5334200" y="2516675"/>
              <a:ext cx="178300" cy="188550"/>
            </a:xfrm>
            <a:custGeom>
              <a:avLst/>
              <a:gdLst/>
              <a:ahLst/>
              <a:cxnLst/>
              <a:rect l="l" t="t" r="r" b="b"/>
              <a:pathLst>
                <a:path w="7132" h="7542" extrusionOk="0">
                  <a:moveTo>
                    <a:pt x="0" y="1"/>
                  </a:moveTo>
                  <a:lnTo>
                    <a:pt x="0" y="408"/>
                  </a:lnTo>
                  <a:lnTo>
                    <a:pt x="7132" y="7541"/>
                  </a:lnTo>
                  <a:lnTo>
                    <a:pt x="7132" y="7133"/>
                  </a:lnTo>
                  <a:lnTo>
                    <a:pt x="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550;p16"/>
            <p:cNvSpPr/>
            <p:nvPr/>
          </p:nvSpPr>
          <p:spPr>
            <a:xfrm>
              <a:off x="5334200" y="2608975"/>
              <a:ext cx="178300" cy="188475"/>
            </a:xfrm>
            <a:custGeom>
              <a:avLst/>
              <a:gdLst/>
              <a:ahLst/>
              <a:cxnLst/>
              <a:rect l="l" t="t" r="r" b="b"/>
              <a:pathLst>
                <a:path w="7132" h="7539" extrusionOk="0">
                  <a:moveTo>
                    <a:pt x="0" y="0"/>
                  </a:moveTo>
                  <a:lnTo>
                    <a:pt x="0" y="407"/>
                  </a:lnTo>
                  <a:lnTo>
                    <a:pt x="7132" y="7539"/>
                  </a:lnTo>
                  <a:lnTo>
                    <a:pt x="7132" y="7132"/>
                  </a:lnTo>
                  <a:lnTo>
                    <a:pt x="0"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551;p16"/>
            <p:cNvSpPr/>
            <p:nvPr/>
          </p:nvSpPr>
          <p:spPr>
            <a:xfrm>
              <a:off x="5334200" y="2701200"/>
              <a:ext cx="178300" cy="188525"/>
            </a:xfrm>
            <a:custGeom>
              <a:avLst/>
              <a:gdLst/>
              <a:ahLst/>
              <a:cxnLst/>
              <a:rect l="l" t="t" r="r" b="b"/>
              <a:pathLst>
                <a:path w="7132" h="7541" extrusionOk="0">
                  <a:moveTo>
                    <a:pt x="0" y="1"/>
                  </a:moveTo>
                  <a:lnTo>
                    <a:pt x="0" y="409"/>
                  </a:lnTo>
                  <a:lnTo>
                    <a:pt x="7132" y="7541"/>
                  </a:lnTo>
                  <a:lnTo>
                    <a:pt x="7132" y="7134"/>
                  </a:lnTo>
                  <a:lnTo>
                    <a:pt x="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52" name="Google Shape;552;p16"/>
          <p:cNvGrpSpPr/>
          <p:nvPr/>
        </p:nvGrpSpPr>
        <p:grpSpPr>
          <a:xfrm rot="10800000">
            <a:off x="1" y="6"/>
            <a:ext cx="1704706" cy="1075164"/>
            <a:chOff x="5970851" y="4835481"/>
            <a:chExt cx="1704706" cy="1075164"/>
          </a:xfrm>
        </p:grpSpPr>
        <p:sp>
          <p:nvSpPr>
            <p:cNvPr id="553" name="Google Shape;553;p16"/>
            <p:cNvSpPr/>
            <p:nvPr/>
          </p:nvSpPr>
          <p:spPr>
            <a:xfrm>
              <a:off x="7310570" y="5725749"/>
              <a:ext cx="364987" cy="184895"/>
            </a:xfrm>
            <a:custGeom>
              <a:avLst/>
              <a:gdLst/>
              <a:ahLst/>
              <a:cxnLst/>
              <a:rect l="l" t="t" r="r" b="b"/>
              <a:pathLst>
                <a:path w="11239" h="5547" extrusionOk="0">
                  <a:moveTo>
                    <a:pt x="0" y="1"/>
                  </a:moveTo>
                  <a:lnTo>
                    <a:pt x="0" y="5547"/>
                  </a:lnTo>
                  <a:lnTo>
                    <a:pt x="11239" y="5547"/>
                  </a:lnTo>
                  <a:lnTo>
                    <a:pt x="1123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554;p16"/>
            <p:cNvSpPr/>
            <p:nvPr/>
          </p:nvSpPr>
          <p:spPr>
            <a:xfrm>
              <a:off x="6766278" y="5602049"/>
              <a:ext cx="20362" cy="20933"/>
            </a:xfrm>
            <a:custGeom>
              <a:avLst/>
              <a:gdLst/>
              <a:ahLst/>
              <a:cxnLst/>
              <a:rect l="l" t="t" r="r" b="b"/>
              <a:pathLst>
                <a:path w="627" h="628" extrusionOk="0">
                  <a:moveTo>
                    <a:pt x="314" y="1"/>
                  </a:moveTo>
                  <a:cubicBezTo>
                    <a:pt x="141" y="1"/>
                    <a:pt x="1" y="142"/>
                    <a:pt x="1" y="315"/>
                  </a:cubicBezTo>
                  <a:cubicBezTo>
                    <a:pt x="1" y="486"/>
                    <a:pt x="141" y="628"/>
                    <a:pt x="314" y="628"/>
                  </a:cubicBezTo>
                  <a:cubicBezTo>
                    <a:pt x="487" y="628"/>
                    <a:pt x="626" y="486"/>
                    <a:pt x="626" y="315"/>
                  </a:cubicBezTo>
                  <a:cubicBezTo>
                    <a:pt x="626" y="142"/>
                    <a:pt x="487" y="1"/>
                    <a:pt x="31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555;p16"/>
            <p:cNvSpPr/>
            <p:nvPr/>
          </p:nvSpPr>
          <p:spPr>
            <a:xfrm>
              <a:off x="6766278" y="5793716"/>
              <a:ext cx="20362" cy="20866"/>
            </a:xfrm>
            <a:custGeom>
              <a:avLst/>
              <a:gdLst/>
              <a:ahLst/>
              <a:cxnLst/>
              <a:rect l="l" t="t" r="r" b="b"/>
              <a:pathLst>
                <a:path w="627" h="626" extrusionOk="0">
                  <a:moveTo>
                    <a:pt x="314" y="0"/>
                  </a:moveTo>
                  <a:cubicBezTo>
                    <a:pt x="141" y="0"/>
                    <a:pt x="1" y="140"/>
                    <a:pt x="1" y="313"/>
                  </a:cubicBezTo>
                  <a:cubicBezTo>
                    <a:pt x="1" y="486"/>
                    <a:pt x="141" y="625"/>
                    <a:pt x="314" y="625"/>
                  </a:cubicBezTo>
                  <a:cubicBezTo>
                    <a:pt x="487" y="625"/>
                    <a:pt x="626" y="486"/>
                    <a:pt x="626" y="313"/>
                  </a:cubicBezTo>
                  <a:cubicBezTo>
                    <a:pt x="626" y="140"/>
                    <a:pt x="487" y="0"/>
                    <a:pt x="31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556;p16"/>
            <p:cNvSpPr/>
            <p:nvPr/>
          </p:nvSpPr>
          <p:spPr>
            <a:xfrm>
              <a:off x="6607179" y="5602049"/>
              <a:ext cx="20394" cy="20933"/>
            </a:xfrm>
            <a:custGeom>
              <a:avLst/>
              <a:gdLst/>
              <a:ahLst/>
              <a:cxnLst/>
              <a:rect l="l" t="t" r="r" b="b"/>
              <a:pathLst>
                <a:path w="628" h="628" extrusionOk="0">
                  <a:moveTo>
                    <a:pt x="315" y="1"/>
                  </a:moveTo>
                  <a:cubicBezTo>
                    <a:pt x="142" y="1"/>
                    <a:pt x="1" y="142"/>
                    <a:pt x="1" y="315"/>
                  </a:cubicBezTo>
                  <a:cubicBezTo>
                    <a:pt x="1" y="486"/>
                    <a:pt x="142" y="628"/>
                    <a:pt x="315" y="628"/>
                  </a:cubicBezTo>
                  <a:cubicBezTo>
                    <a:pt x="486" y="628"/>
                    <a:pt x="628" y="486"/>
                    <a:pt x="628" y="315"/>
                  </a:cubicBezTo>
                  <a:cubicBezTo>
                    <a:pt x="628" y="142"/>
                    <a:pt x="486" y="1"/>
                    <a:pt x="31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557;p16"/>
            <p:cNvSpPr/>
            <p:nvPr/>
          </p:nvSpPr>
          <p:spPr>
            <a:xfrm>
              <a:off x="6607179" y="5793716"/>
              <a:ext cx="20394" cy="20866"/>
            </a:xfrm>
            <a:custGeom>
              <a:avLst/>
              <a:gdLst/>
              <a:ahLst/>
              <a:cxnLst/>
              <a:rect l="l" t="t" r="r" b="b"/>
              <a:pathLst>
                <a:path w="628" h="626" extrusionOk="0">
                  <a:moveTo>
                    <a:pt x="315" y="0"/>
                  </a:moveTo>
                  <a:cubicBezTo>
                    <a:pt x="142" y="0"/>
                    <a:pt x="1" y="140"/>
                    <a:pt x="1" y="313"/>
                  </a:cubicBezTo>
                  <a:cubicBezTo>
                    <a:pt x="1" y="486"/>
                    <a:pt x="142" y="625"/>
                    <a:pt x="315" y="625"/>
                  </a:cubicBezTo>
                  <a:cubicBezTo>
                    <a:pt x="486" y="625"/>
                    <a:pt x="628" y="486"/>
                    <a:pt x="628" y="313"/>
                  </a:cubicBezTo>
                  <a:cubicBezTo>
                    <a:pt x="628" y="140"/>
                    <a:pt x="486" y="0"/>
                    <a:pt x="31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558;p16"/>
            <p:cNvSpPr/>
            <p:nvPr/>
          </p:nvSpPr>
          <p:spPr>
            <a:xfrm>
              <a:off x="6448113" y="5602049"/>
              <a:ext cx="20362" cy="20933"/>
            </a:xfrm>
            <a:custGeom>
              <a:avLst/>
              <a:gdLst/>
              <a:ahLst/>
              <a:cxnLst/>
              <a:rect l="l" t="t" r="r" b="b"/>
              <a:pathLst>
                <a:path w="627" h="628" extrusionOk="0">
                  <a:moveTo>
                    <a:pt x="314" y="1"/>
                  </a:moveTo>
                  <a:cubicBezTo>
                    <a:pt x="141" y="1"/>
                    <a:pt x="1" y="142"/>
                    <a:pt x="1" y="315"/>
                  </a:cubicBezTo>
                  <a:cubicBezTo>
                    <a:pt x="1" y="486"/>
                    <a:pt x="141" y="628"/>
                    <a:pt x="314" y="628"/>
                  </a:cubicBezTo>
                  <a:cubicBezTo>
                    <a:pt x="487" y="628"/>
                    <a:pt x="626" y="486"/>
                    <a:pt x="626" y="315"/>
                  </a:cubicBezTo>
                  <a:cubicBezTo>
                    <a:pt x="626" y="142"/>
                    <a:pt x="487" y="1"/>
                    <a:pt x="31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559;p16"/>
            <p:cNvSpPr/>
            <p:nvPr/>
          </p:nvSpPr>
          <p:spPr>
            <a:xfrm>
              <a:off x="6448113" y="5793716"/>
              <a:ext cx="20362" cy="20866"/>
            </a:xfrm>
            <a:custGeom>
              <a:avLst/>
              <a:gdLst/>
              <a:ahLst/>
              <a:cxnLst/>
              <a:rect l="l" t="t" r="r" b="b"/>
              <a:pathLst>
                <a:path w="627" h="626" extrusionOk="0">
                  <a:moveTo>
                    <a:pt x="314" y="0"/>
                  </a:moveTo>
                  <a:cubicBezTo>
                    <a:pt x="141" y="0"/>
                    <a:pt x="1" y="140"/>
                    <a:pt x="1" y="313"/>
                  </a:cubicBezTo>
                  <a:cubicBezTo>
                    <a:pt x="1" y="486"/>
                    <a:pt x="141" y="625"/>
                    <a:pt x="314" y="625"/>
                  </a:cubicBezTo>
                  <a:cubicBezTo>
                    <a:pt x="487" y="625"/>
                    <a:pt x="626" y="486"/>
                    <a:pt x="626" y="313"/>
                  </a:cubicBezTo>
                  <a:cubicBezTo>
                    <a:pt x="626" y="140"/>
                    <a:pt x="487" y="0"/>
                    <a:pt x="31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560;p16"/>
            <p:cNvSpPr/>
            <p:nvPr/>
          </p:nvSpPr>
          <p:spPr>
            <a:xfrm>
              <a:off x="6289015" y="5602049"/>
              <a:ext cx="20394" cy="20933"/>
            </a:xfrm>
            <a:custGeom>
              <a:avLst/>
              <a:gdLst/>
              <a:ahLst/>
              <a:cxnLst/>
              <a:rect l="l" t="t" r="r" b="b"/>
              <a:pathLst>
                <a:path w="628" h="628" extrusionOk="0">
                  <a:moveTo>
                    <a:pt x="315" y="1"/>
                  </a:moveTo>
                  <a:cubicBezTo>
                    <a:pt x="142" y="1"/>
                    <a:pt x="1" y="142"/>
                    <a:pt x="1" y="315"/>
                  </a:cubicBezTo>
                  <a:cubicBezTo>
                    <a:pt x="1" y="486"/>
                    <a:pt x="142" y="628"/>
                    <a:pt x="315" y="628"/>
                  </a:cubicBezTo>
                  <a:cubicBezTo>
                    <a:pt x="486" y="628"/>
                    <a:pt x="627" y="486"/>
                    <a:pt x="627" y="315"/>
                  </a:cubicBezTo>
                  <a:cubicBezTo>
                    <a:pt x="627" y="142"/>
                    <a:pt x="486" y="1"/>
                    <a:pt x="31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561;p16"/>
            <p:cNvSpPr/>
            <p:nvPr/>
          </p:nvSpPr>
          <p:spPr>
            <a:xfrm>
              <a:off x="6289015" y="5793716"/>
              <a:ext cx="20394" cy="20866"/>
            </a:xfrm>
            <a:custGeom>
              <a:avLst/>
              <a:gdLst/>
              <a:ahLst/>
              <a:cxnLst/>
              <a:rect l="l" t="t" r="r" b="b"/>
              <a:pathLst>
                <a:path w="628" h="626" extrusionOk="0">
                  <a:moveTo>
                    <a:pt x="315" y="0"/>
                  </a:moveTo>
                  <a:cubicBezTo>
                    <a:pt x="142" y="0"/>
                    <a:pt x="1" y="140"/>
                    <a:pt x="1" y="313"/>
                  </a:cubicBezTo>
                  <a:cubicBezTo>
                    <a:pt x="1" y="486"/>
                    <a:pt x="142" y="625"/>
                    <a:pt x="315" y="625"/>
                  </a:cubicBezTo>
                  <a:cubicBezTo>
                    <a:pt x="486" y="625"/>
                    <a:pt x="627" y="486"/>
                    <a:pt x="627" y="313"/>
                  </a:cubicBezTo>
                  <a:cubicBezTo>
                    <a:pt x="627" y="140"/>
                    <a:pt x="486" y="0"/>
                    <a:pt x="31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562;p16"/>
            <p:cNvSpPr/>
            <p:nvPr/>
          </p:nvSpPr>
          <p:spPr>
            <a:xfrm>
              <a:off x="6129949" y="5602049"/>
              <a:ext cx="20362" cy="20933"/>
            </a:xfrm>
            <a:custGeom>
              <a:avLst/>
              <a:gdLst/>
              <a:ahLst/>
              <a:cxnLst/>
              <a:rect l="l" t="t" r="r" b="b"/>
              <a:pathLst>
                <a:path w="627" h="628" extrusionOk="0">
                  <a:moveTo>
                    <a:pt x="313" y="1"/>
                  </a:moveTo>
                  <a:cubicBezTo>
                    <a:pt x="139" y="1"/>
                    <a:pt x="1" y="142"/>
                    <a:pt x="1" y="315"/>
                  </a:cubicBezTo>
                  <a:cubicBezTo>
                    <a:pt x="1" y="486"/>
                    <a:pt x="140" y="628"/>
                    <a:pt x="313" y="628"/>
                  </a:cubicBezTo>
                  <a:cubicBezTo>
                    <a:pt x="487" y="628"/>
                    <a:pt x="626" y="486"/>
                    <a:pt x="626" y="315"/>
                  </a:cubicBezTo>
                  <a:cubicBezTo>
                    <a:pt x="626" y="142"/>
                    <a:pt x="487" y="1"/>
                    <a:pt x="313"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563;p16"/>
            <p:cNvSpPr/>
            <p:nvPr/>
          </p:nvSpPr>
          <p:spPr>
            <a:xfrm>
              <a:off x="6129949" y="5793716"/>
              <a:ext cx="20362" cy="20866"/>
            </a:xfrm>
            <a:custGeom>
              <a:avLst/>
              <a:gdLst/>
              <a:ahLst/>
              <a:cxnLst/>
              <a:rect l="l" t="t" r="r" b="b"/>
              <a:pathLst>
                <a:path w="627" h="626" extrusionOk="0">
                  <a:moveTo>
                    <a:pt x="313" y="0"/>
                  </a:moveTo>
                  <a:cubicBezTo>
                    <a:pt x="139" y="0"/>
                    <a:pt x="1" y="140"/>
                    <a:pt x="1" y="313"/>
                  </a:cubicBezTo>
                  <a:cubicBezTo>
                    <a:pt x="1" y="486"/>
                    <a:pt x="140" y="625"/>
                    <a:pt x="313" y="625"/>
                  </a:cubicBezTo>
                  <a:cubicBezTo>
                    <a:pt x="487" y="625"/>
                    <a:pt x="626" y="486"/>
                    <a:pt x="626" y="313"/>
                  </a:cubicBezTo>
                  <a:cubicBezTo>
                    <a:pt x="626" y="140"/>
                    <a:pt x="487" y="0"/>
                    <a:pt x="3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564;p16"/>
            <p:cNvSpPr/>
            <p:nvPr/>
          </p:nvSpPr>
          <p:spPr>
            <a:xfrm>
              <a:off x="7561672" y="4835481"/>
              <a:ext cx="20394" cy="20899"/>
            </a:xfrm>
            <a:custGeom>
              <a:avLst/>
              <a:gdLst/>
              <a:ahLst/>
              <a:cxnLst/>
              <a:rect l="l" t="t" r="r" b="b"/>
              <a:pathLst>
                <a:path w="628" h="627" extrusionOk="0">
                  <a:moveTo>
                    <a:pt x="315" y="1"/>
                  </a:moveTo>
                  <a:cubicBezTo>
                    <a:pt x="142" y="1"/>
                    <a:pt x="1" y="141"/>
                    <a:pt x="1" y="314"/>
                  </a:cubicBezTo>
                  <a:cubicBezTo>
                    <a:pt x="1" y="487"/>
                    <a:pt x="142" y="626"/>
                    <a:pt x="315" y="626"/>
                  </a:cubicBezTo>
                  <a:cubicBezTo>
                    <a:pt x="487" y="626"/>
                    <a:pt x="628" y="487"/>
                    <a:pt x="628" y="314"/>
                  </a:cubicBezTo>
                  <a:cubicBezTo>
                    <a:pt x="628" y="141"/>
                    <a:pt x="487" y="1"/>
                    <a:pt x="315" y="1"/>
                  </a:cubicBez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565;p16"/>
            <p:cNvSpPr/>
            <p:nvPr/>
          </p:nvSpPr>
          <p:spPr>
            <a:xfrm>
              <a:off x="7561672" y="5027182"/>
              <a:ext cx="20394" cy="20866"/>
            </a:xfrm>
            <a:custGeom>
              <a:avLst/>
              <a:gdLst/>
              <a:ahLst/>
              <a:cxnLst/>
              <a:rect l="l" t="t" r="r" b="b"/>
              <a:pathLst>
                <a:path w="628" h="626" extrusionOk="0">
                  <a:moveTo>
                    <a:pt x="315" y="1"/>
                  </a:moveTo>
                  <a:cubicBezTo>
                    <a:pt x="142" y="1"/>
                    <a:pt x="1" y="140"/>
                    <a:pt x="1" y="313"/>
                  </a:cubicBezTo>
                  <a:cubicBezTo>
                    <a:pt x="1" y="486"/>
                    <a:pt x="142" y="626"/>
                    <a:pt x="315" y="626"/>
                  </a:cubicBezTo>
                  <a:cubicBezTo>
                    <a:pt x="487" y="626"/>
                    <a:pt x="628" y="486"/>
                    <a:pt x="628" y="313"/>
                  </a:cubicBezTo>
                  <a:cubicBezTo>
                    <a:pt x="628" y="140"/>
                    <a:pt x="487" y="1"/>
                    <a:pt x="31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566;p16"/>
            <p:cNvSpPr/>
            <p:nvPr/>
          </p:nvSpPr>
          <p:spPr>
            <a:xfrm>
              <a:off x="7561672" y="5218782"/>
              <a:ext cx="20394" cy="20933"/>
            </a:xfrm>
            <a:custGeom>
              <a:avLst/>
              <a:gdLst/>
              <a:ahLst/>
              <a:cxnLst/>
              <a:rect l="l" t="t" r="r" b="b"/>
              <a:pathLst>
                <a:path w="628" h="628" extrusionOk="0">
                  <a:moveTo>
                    <a:pt x="315" y="0"/>
                  </a:moveTo>
                  <a:cubicBezTo>
                    <a:pt x="142" y="0"/>
                    <a:pt x="1" y="142"/>
                    <a:pt x="1" y="313"/>
                  </a:cubicBezTo>
                  <a:cubicBezTo>
                    <a:pt x="1" y="486"/>
                    <a:pt x="142" y="627"/>
                    <a:pt x="315" y="627"/>
                  </a:cubicBezTo>
                  <a:cubicBezTo>
                    <a:pt x="487" y="627"/>
                    <a:pt x="628" y="486"/>
                    <a:pt x="628" y="313"/>
                  </a:cubicBezTo>
                  <a:cubicBezTo>
                    <a:pt x="628" y="142"/>
                    <a:pt x="487" y="0"/>
                    <a:pt x="31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567;p16"/>
            <p:cNvSpPr/>
            <p:nvPr/>
          </p:nvSpPr>
          <p:spPr>
            <a:xfrm>
              <a:off x="7561672" y="5410482"/>
              <a:ext cx="20394" cy="20866"/>
            </a:xfrm>
            <a:custGeom>
              <a:avLst/>
              <a:gdLst/>
              <a:ahLst/>
              <a:cxnLst/>
              <a:rect l="l" t="t" r="r" b="b"/>
              <a:pathLst>
                <a:path w="628" h="626" extrusionOk="0">
                  <a:moveTo>
                    <a:pt x="315" y="0"/>
                  </a:moveTo>
                  <a:cubicBezTo>
                    <a:pt x="142" y="0"/>
                    <a:pt x="1" y="138"/>
                    <a:pt x="1" y="313"/>
                  </a:cubicBezTo>
                  <a:cubicBezTo>
                    <a:pt x="1" y="486"/>
                    <a:pt x="142" y="625"/>
                    <a:pt x="315" y="625"/>
                  </a:cubicBezTo>
                  <a:cubicBezTo>
                    <a:pt x="487" y="625"/>
                    <a:pt x="628" y="486"/>
                    <a:pt x="628" y="313"/>
                  </a:cubicBezTo>
                  <a:cubicBezTo>
                    <a:pt x="628" y="140"/>
                    <a:pt x="487" y="0"/>
                    <a:pt x="31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568;p16"/>
            <p:cNvSpPr/>
            <p:nvPr/>
          </p:nvSpPr>
          <p:spPr>
            <a:xfrm>
              <a:off x="7561672" y="5602049"/>
              <a:ext cx="20394" cy="20933"/>
            </a:xfrm>
            <a:custGeom>
              <a:avLst/>
              <a:gdLst/>
              <a:ahLst/>
              <a:cxnLst/>
              <a:rect l="l" t="t" r="r" b="b"/>
              <a:pathLst>
                <a:path w="628" h="628" extrusionOk="0">
                  <a:moveTo>
                    <a:pt x="315" y="1"/>
                  </a:moveTo>
                  <a:cubicBezTo>
                    <a:pt x="142" y="1"/>
                    <a:pt x="1" y="142"/>
                    <a:pt x="1" y="315"/>
                  </a:cubicBezTo>
                  <a:cubicBezTo>
                    <a:pt x="1" y="486"/>
                    <a:pt x="142" y="628"/>
                    <a:pt x="315" y="628"/>
                  </a:cubicBezTo>
                  <a:cubicBezTo>
                    <a:pt x="487" y="628"/>
                    <a:pt x="628" y="486"/>
                    <a:pt x="628" y="315"/>
                  </a:cubicBezTo>
                  <a:cubicBezTo>
                    <a:pt x="628" y="142"/>
                    <a:pt x="487" y="1"/>
                    <a:pt x="31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569;p16"/>
            <p:cNvSpPr/>
            <p:nvPr/>
          </p:nvSpPr>
          <p:spPr>
            <a:xfrm>
              <a:off x="7561672" y="5793716"/>
              <a:ext cx="20394" cy="20866"/>
            </a:xfrm>
            <a:custGeom>
              <a:avLst/>
              <a:gdLst/>
              <a:ahLst/>
              <a:cxnLst/>
              <a:rect l="l" t="t" r="r" b="b"/>
              <a:pathLst>
                <a:path w="628" h="626" extrusionOk="0">
                  <a:moveTo>
                    <a:pt x="315" y="0"/>
                  </a:moveTo>
                  <a:cubicBezTo>
                    <a:pt x="142" y="0"/>
                    <a:pt x="1" y="140"/>
                    <a:pt x="1" y="313"/>
                  </a:cubicBezTo>
                  <a:cubicBezTo>
                    <a:pt x="1" y="486"/>
                    <a:pt x="142" y="625"/>
                    <a:pt x="315" y="625"/>
                  </a:cubicBezTo>
                  <a:cubicBezTo>
                    <a:pt x="487" y="625"/>
                    <a:pt x="628" y="486"/>
                    <a:pt x="628" y="313"/>
                  </a:cubicBezTo>
                  <a:cubicBezTo>
                    <a:pt x="628" y="140"/>
                    <a:pt x="487" y="0"/>
                    <a:pt x="31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570;p16"/>
            <p:cNvSpPr/>
            <p:nvPr/>
          </p:nvSpPr>
          <p:spPr>
            <a:xfrm>
              <a:off x="7402639" y="4835481"/>
              <a:ext cx="20329" cy="20899"/>
            </a:xfrm>
            <a:custGeom>
              <a:avLst/>
              <a:gdLst/>
              <a:ahLst/>
              <a:cxnLst/>
              <a:rect l="l" t="t" r="r" b="b"/>
              <a:pathLst>
                <a:path w="626" h="627" extrusionOk="0">
                  <a:moveTo>
                    <a:pt x="313" y="1"/>
                  </a:moveTo>
                  <a:cubicBezTo>
                    <a:pt x="140" y="1"/>
                    <a:pt x="0" y="141"/>
                    <a:pt x="0" y="314"/>
                  </a:cubicBezTo>
                  <a:cubicBezTo>
                    <a:pt x="0" y="487"/>
                    <a:pt x="140" y="626"/>
                    <a:pt x="313" y="626"/>
                  </a:cubicBezTo>
                  <a:cubicBezTo>
                    <a:pt x="486" y="626"/>
                    <a:pt x="625" y="487"/>
                    <a:pt x="625" y="314"/>
                  </a:cubicBezTo>
                  <a:cubicBezTo>
                    <a:pt x="625" y="141"/>
                    <a:pt x="486" y="1"/>
                    <a:pt x="313" y="1"/>
                  </a:cubicBez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571;p16"/>
            <p:cNvSpPr/>
            <p:nvPr/>
          </p:nvSpPr>
          <p:spPr>
            <a:xfrm>
              <a:off x="7402639" y="5027182"/>
              <a:ext cx="20329" cy="20866"/>
            </a:xfrm>
            <a:custGeom>
              <a:avLst/>
              <a:gdLst/>
              <a:ahLst/>
              <a:cxnLst/>
              <a:rect l="l" t="t" r="r" b="b"/>
              <a:pathLst>
                <a:path w="626" h="626" extrusionOk="0">
                  <a:moveTo>
                    <a:pt x="313" y="1"/>
                  </a:moveTo>
                  <a:cubicBezTo>
                    <a:pt x="140" y="1"/>
                    <a:pt x="0" y="140"/>
                    <a:pt x="0" y="313"/>
                  </a:cubicBezTo>
                  <a:cubicBezTo>
                    <a:pt x="0" y="486"/>
                    <a:pt x="140" y="626"/>
                    <a:pt x="313" y="626"/>
                  </a:cubicBezTo>
                  <a:cubicBezTo>
                    <a:pt x="486" y="626"/>
                    <a:pt x="625" y="486"/>
                    <a:pt x="625" y="313"/>
                  </a:cubicBezTo>
                  <a:cubicBezTo>
                    <a:pt x="625" y="140"/>
                    <a:pt x="486" y="1"/>
                    <a:pt x="313"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572;p16"/>
            <p:cNvSpPr/>
            <p:nvPr/>
          </p:nvSpPr>
          <p:spPr>
            <a:xfrm>
              <a:off x="7402639" y="5218782"/>
              <a:ext cx="20329" cy="20933"/>
            </a:xfrm>
            <a:custGeom>
              <a:avLst/>
              <a:gdLst/>
              <a:ahLst/>
              <a:cxnLst/>
              <a:rect l="l" t="t" r="r" b="b"/>
              <a:pathLst>
                <a:path w="626" h="628" extrusionOk="0">
                  <a:moveTo>
                    <a:pt x="313" y="0"/>
                  </a:moveTo>
                  <a:cubicBezTo>
                    <a:pt x="140" y="0"/>
                    <a:pt x="0" y="140"/>
                    <a:pt x="0" y="313"/>
                  </a:cubicBezTo>
                  <a:cubicBezTo>
                    <a:pt x="0" y="486"/>
                    <a:pt x="140" y="627"/>
                    <a:pt x="313" y="627"/>
                  </a:cubicBezTo>
                  <a:cubicBezTo>
                    <a:pt x="486" y="627"/>
                    <a:pt x="625" y="486"/>
                    <a:pt x="625" y="313"/>
                  </a:cubicBezTo>
                  <a:cubicBezTo>
                    <a:pt x="625" y="140"/>
                    <a:pt x="486" y="0"/>
                    <a:pt x="3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573;p16"/>
            <p:cNvSpPr/>
            <p:nvPr/>
          </p:nvSpPr>
          <p:spPr>
            <a:xfrm>
              <a:off x="7402639" y="5410482"/>
              <a:ext cx="20329" cy="20866"/>
            </a:xfrm>
            <a:custGeom>
              <a:avLst/>
              <a:gdLst/>
              <a:ahLst/>
              <a:cxnLst/>
              <a:rect l="l" t="t" r="r" b="b"/>
              <a:pathLst>
                <a:path w="626" h="626" extrusionOk="0">
                  <a:moveTo>
                    <a:pt x="313" y="0"/>
                  </a:moveTo>
                  <a:cubicBezTo>
                    <a:pt x="140" y="0"/>
                    <a:pt x="0" y="140"/>
                    <a:pt x="0" y="313"/>
                  </a:cubicBezTo>
                  <a:cubicBezTo>
                    <a:pt x="0" y="486"/>
                    <a:pt x="140" y="625"/>
                    <a:pt x="313" y="625"/>
                  </a:cubicBezTo>
                  <a:cubicBezTo>
                    <a:pt x="486" y="625"/>
                    <a:pt x="625" y="486"/>
                    <a:pt x="625" y="313"/>
                  </a:cubicBezTo>
                  <a:cubicBezTo>
                    <a:pt x="625" y="140"/>
                    <a:pt x="486" y="0"/>
                    <a:pt x="3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574;p16"/>
            <p:cNvSpPr/>
            <p:nvPr/>
          </p:nvSpPr>
          <p:spPr>
            <a:xfrm>
              <a:off x="7402639" y="5602049"/>
              <a:ext cx="20329" cy="20933"/>
            </a:xfrm>
            <a:custGeom>
              <a:avLst/>
              <a:gdLst/>
              <a:ahLst/>
              <a:cxnLst/>
              <a:rect l="l" t="t" r="r" b="b"/>
              <a:pathLst>
                <a:path w="626" h="628" extrusionOk="0">
                  <a:moveTo>
                    <a:pt x="313" y="1"/>
                  </a:moveTo>
                  <a:cubicBezTo>
                    <a:pt x="140" y="1"/>
                    <a:pt x="0" y="142"/>
                    <a:pt x="0" y="315"/>
                  </a:cubicBezTo>
                  <a:cubicBezTo>
                    <a:pt x="0" y="486"/>
                    <a:pt x="140" y="628"/>
                    <a:pt x="313" y="628"/>
                  </a:cubicBezTo>
                  <a:cubicBezTo>
                    <a:pt x="486" y="628"/>
                    <a:pt x="625" y="486"/>
                    <a:pt x="625" y="315"/>
                  </a:cubicBezTo>
                  <a:cubicBezTo>
                    <a:pt x="625" y="142"/>
                    <a:pt x="486" y="1"/>
                    <a:pt x="313"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575;p16"/>
            <p:cNvSpPr/>
            <p:nvPr/>
          </p:nvSpPr>
          <p:spPr>
            <a:xfrm>
              <a:off x="7402639" y="5793716"/>
              <a:ext cx="20329" cy="20866"/>
            </a:xfrm>
            <a:custGeom>
              <a:avLst/>
              <a:gdLst/>
              <a:ahLst/>
              <a:cxnLst/>
              <a:rect l="l" t="t" r="r" b="b"/>
              <a:pathLst>
                <a:path w="626" h="626" extrusionOk="0">
                  <a:moveTo>
                    <a:pt x="313" y="0"/>
                  </a:moveTo>
                  <a:cubicBezTo>
                    <a:pt x="140" y="0"/>
                    <a:pt x="0" y="140"/>
                    <a:pt x="0" y="313"/>
                  </a:cubicBezTo>
                  <a:cubicBezTo>
                    <a:pt x="0" y="486"/>
                    <a:pt x="140" y="625"/>
                    <a:pt x="313" y="625"/>
                  </a:cubicBezTo>
                  <a:cubicBezTo>
                    <a:pt x="486" y="625"/>
                    <a:pt x="625" y="486"/>
                    <a:pt x="625" y="313"/>
                  </a:cubicBezTo>
                  <a:cubicBezTo>
                    <a:pt x="625" y="140"/>
                    <a:pt x="486" y="0"/>
                    <a:pt x="3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576;p16"/>
            <p:cNvSpPr/>
            <p:nvPr/>
          </p:nvSpPr>
          <p:spPr>
            <a:xfrm>
              <a:off x="7243508" y="4835481"/>
              <a:ext cx="20394" cy="20899"/>
            </a:xfrm>
            <a:custGeom>
              <a:avLst/>
              <a:gdLst/>
              <a:ahLst/>
              <a:cxnLst/>
              <a:rect l="l" t="t" r="r" b="b"/>
              <a:pathLst>
                <a:path w="628" h="627" extrusionOk="0">
                  <a:moveTo>
                    <a:pt x="315" y="1"/>
                  </a:moveTo>
                  <a:cubicBezTo>
                    <a:pt x="142" y="1"/>
                    <a:pt x="1" y="141"/>
                    <a:pt x="1" y="314"/>
                  </a:cubicBezTo>
                  <a:cubicBezTo>
                    <a:pt x="1" y="487"/>
                    <a:pt x="142" y="626"/>
                    <a:pt x="315" y="626"/>
                  </a:cubicBezTo>
                  <a:cubicBezTo>
                    <a:pt x="487" y="626"/>
                    <a:pt x="628" y="487"/>
                    <a:pt x="628" y="314"/>
                  </a:cubicBezTo>
                  <a:cubicBezTo>
                    <a:pt x="628" y="141"/>
                    <a:pt x="487" y="1"/>
                    <a:pt x="315" y="1"/>
                  </a:cubicBezTo>
                  <a:close/>
                </a:path>
              </a:pathLst>
            </a:cu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577;p16"/>
            <p:cNvSpPr/>
            <p:nvPr/>
          </p:nvSpPr>
          <p:spPr>
            <a:xfrm>
              <a:off x="7243508" y="5027182"/>
              <a:ext cx="20394" cy="20866"/>
            </a:xfrm>
            <a:custGeom>
              <a:avLst/>
              <a:gdLst/>
              <a:ahLst/>
              <a:cxnLst/>
              <a:rect l="l" t="t" r="r" b="b"/>
              <a:pathLst>
                <a:path w="628" h="626" extrusionOk="0">
                  <a:moveTo>
                    <a:pt x="315" y="1"/>
                  </a:moveTo>
                  <a:cubicBezTo>
                    <a:pt x="142" y="1"/>
                    <a:pt x="1" y="140"/>
                    <a:pt x="1" y="313"/>
                  </a:cubicBezTo>
                  <a:cubicBezTo>
                    <a:pt x="1" y="486"/>
                    <a:pt x="142" y="626"/>
                    <a:pt x="315" y="626"/>
                  </a:cubicBezTo>
                  <a:cubicBezTo>
                    <a:pt x="487" y="626"/>
                    <a:pt x="628" y="486"/>
                    <a:pt x="628" y="313"/>
                  </a:cubicBezTo>
                  <a:cubicBezTo>
                    <a:pt x="628" y="140"/>
                    <a:pt x="487" y="1"/>
                    <a:pt x="31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578;p16"/>
            <p:cNvSpPr/>
            <p:nvPr/>
          </p:nvSpPr>
          <p:spPr>
            <a:xfrm>
              <a:off x="7243508" y="5218782"/>
              <a:ext cx="20394" cy="20933"/>
            </a:xfrm>
            <a:custGeom>
              <a:avLst/>
              <a:gdLst/>
              <a:ahLst/>
              <a:cxnLst/>
              <a:rect l="l" t="t" r="r" b="b"/>
              <a:pathLst>
                <a:path w="628" h="628" extrusionOk="0">
                  <a:moveTo>
                    <a:pt x="315" y="0"/>
                  </a:moveTo>
                  <a:cubicBezTo>
                    <a:pt x="142" y="0"/>
                    <a:pt x="1" y="142"/>
                    <a:pt x="1" y="313"/>
                  </a:cubicBezTo>
                  <a:cubicBezTo>
                    <a:pt x="1" y="486"/>
                    <a:pt x="142" y="627"/>
                    <a:pt x="315" y="627"/>
                  </a:cubicBezTo>
                  <a:cubicBezTo>
                    <a:pt x="487" y="627"/>
                    <a:pt x="628" y="486"/>
                    <a:pt x="628" y="313"/>
                  </a:cubicBezTo>
                  <a:cubicBezTo>
                    <a:pt x="628" y="142"/>
                    <a:pt x="487" y="0"/>
                    <a:pt x="31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16"/>
            <p:cNvSpPr/>
            <p:nvPr/>
          </p:nvSpPr>
          <p:spPr>
            <a:xfrm>
              <a:off x="7243508" y="5410482"/>
              <a:ext cx="20394" cy="20866"/>
            </a:xfrm>
            <a:custGeom>
              <a:avLst/>
              <a:gdLst/>
              <a:ahLst/>
              <a:cxnLst/>
              <a:rect l="l" t="t" r="r" b="b"/>
              <a:pathLst>
                <a:path w="628" h="626" extrusionOk="0">
                  <a:moveTo>
                    <a:pt x="315" y="0"/>
                  </a:moveTo>
                  <a:cubicBezTo>
                    <a:pt x="142" y="0"/>
                    <a:pt x="1" y="138"/>
                    <a:pt x="1" y="313"/>
                  </a:cubicBezTo>
                  <a:cubicBezTo>
                    <a:pt x="1" y="486"/>
                    <a:pt x="142" y="625"/>
                    <a:pt x="315" y="625"/>
                  </a:cubicBezTo>
                  <a:cubicBezTo>
                    <a:pt x="487" y="625"/>
                    <a:pt x="628" y="486"/>
                    <a:pt x="628" y="313"/>
                  </a:cubicBezTo>
                  <a:cubicBezTo>
                    <a:pt x="628" y="140"/>
                    <a:pt x="487" y="0"/>
                    <a:pt x="31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16"/>
            <p:cNvSpPr/>
            <p:nvPr/>
          </p:nvSpPr>
          <p:spPr>
            <a:xfrm>
              <a:off x="7243508" y="5602049"/>
              <a:ext cx="20394" cy="20933"/>
            </a:xfrm>
            <a:custGeom>
              <a:avLst/>
              <a:gdLst/>
              <a:ahLst/>
              <a:cxnLst/>
              <a:rect l="l" t="t" r="r" b="b"/>
              <a:pathLst>
                <a:path w="628" h="628" extrusionOk="0">
                  <a:moveTo>
                    <a:pt x="315" y="1"/>
                  </a:moveTo>
                  <a:cubicBezTo>
                    <a:pt x="142" y="1"/>
                    <a:pt x="1" y="142"/>
                    <a:pt x="1" y="315"/>
                  </a:cubicBezTo>
                  <a:cubicBezTo>
                    <a:pt x="1" y="486"/>
                    <a:pt x="142" y="628"/>
                    <a:pt x="315" y="628"/>
                  </a:cubicBezTo>
                  <a:cubicBezTo>
                    <a:pt x="487" y="628"/>
                    <a:pt x="628" y="486"/>
                    <a:pt x="628" y="315"/>
                  </a:cubicBezTo>
                  <a:cubicBezTo>
                    <a:pt x="628" y="142"/>
                    <a:pt x="487" y="1"/>
                    <a:pt x="31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16"/>
            <p:cNvSpPr/>
            <p:nvPr/>
          </p:nvSpPr>
          <p:spPr>
            <a:xfrm>
              <a:off x="7243508" y="5793716"/>
              <a:ext cx="20394" cy="20866"/>
            </a:xfrm>
            <a:custGeom>
              <a:avLst/>
              <a:gdLst/>
              <a:ahLst/>
              <a:cxnLst/>
              <a:rect l="l" t="t" r="r" b="b"/>
              <a:pathLst>
                <a:path w="628" h="626" extrusionOk="0">
                  <a:moveTo>
                    <a:pt x="315" y="0"/>
                  </a:moveTo>
                  <a:cubicBezTo>
                    <a:pt x="142" y="0"/>
                    <a:pt x="1" y="140"/>
                    <a:pt x="1" y="313"/>
                  </a:cubicBezTo>
                  <a:cubicBezTo>
                    <a:pt x="1" y="486"/>
                    <a:pt x="142" y="625"/>
                    <a:pt x="315" y="625"/>
                  </a:cubicBezTo>
                  <a:cubicBezTo>
                    <a:pt x="487" y="625"/>
                    <a:pt x="628" y="486"/>
                    <a:pt x="628" y="313"/>
                  </a:cubicBezTo>
                  <a:cubicBezTo>
                    <a:pt x="628" y="140"/>
                    <a:pt x="487" y="0"/>
                    <a:pt x="31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16"/>
            <p:cNvSpPr/>
            <p:nvPr/>
          </p:nvSpPr>
          <p:spPr>
            <a:xfrm>
              <a:off x="7084475" y="5602049"/>
              <a:ext cx="20329" cy="20933"/>
            </a:xfrm>
            <a:custGeom>
              <a:avLst/>
              <a:gdLst/>
              <a:ahLst/>
              <a:cxnLst/>
              <a:rect l="l" t="t" r="r" b="b"/>
              <a:pathLst>
                <a:path w="626" h="628" extrusionOk="0">
                  <a:moveTo>
                    <a:pt x="313" y="1"/>
                  </a:moveTo>
                  <a:cubicBezTo>
                    <a:pt x="140" y="1"/>
                    <a:pt x="0" y="142"/>
                    <a:pt x="0" y="315"/>
                  </a:cubicBezTo>
                  <a:cubicBezTo>
                    <a:pt x="0" y="486"/>
                    <a:pt x="140" y="628"/>
                    <a:pt x="313" y="628"/>
                  </a:cubicBezTo>
                  <a:cubicBezTo>
                    <a:pt x="486" y="628"/>
                    <a:pt x="625" y="486"/>
                    <a:pt x="625" y="315"/>
                  </a:cubicBezTo>
                  <a:cubicBezTo>
                    <a:pt x="625" y="142"/>
                    <a:pt x="486" y="1"/>
                    <a:pt x="313"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16"/>
            <p:cNvSpPr/>
            <p:nvPr/>
          </p:nvSpPr>
          <p:spPr>
            <a:xfrm>
              <a:off x="7084475" y="5793716"/>
              <a:ext cx="20329" cy="20866"/>
            </a:xfrm>
            <a:custGeom>
              <a:avLst/>
              <a:gdLst/>
              <a:ahLst/>
              <a:cxnLst/>
              <a:rect l="l" t="t" r="r" b="b"/>
              <a:pathLst>
                <a:path w="626" h="626" extrusionOk="0">
                  <a:moveTo>
                    <a:pt x="313" y="0"/>
                  </a:moveTo>
                  <a:cubicBezTo>
                    <a:pt x="140" y="0"/>
                    <a:pt x="0" y="140"/>
                    <a:pt x="0" y="313"/>
                  </a:cubicBezTo>
                  <a:cubicBezTo>
                    <a:pt x="0" y="486"/>
                    <a:pt x="140" y="625"/>
                    <a:pt x="313" y="625"/>
                  </a:cubicBezTo>
                  <a:cubicBezTo>
                    <a:pt x="486" y="625"/>
                    <a:pt x="625" y="486"/>
                    <a:pt x="625" y="313"/>
                  </a:cubicBezTo>
                  <a:cubicBezTo>
                    <a:pt x="625" y="140"/>
                    <a:pt x="486" y="0"/>
                    <a:pt x="3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584;p16"/>
            <p:cNvSpPr/>
            <p:nvPr/>
          </p:nvSpPr>
          <p:spPr>
            <a:xfrm>
              <a:off x="6925344" y="5602049"/>
              <a:ext cx="20394" cy="20933"/>
            </a:xfrm>
            <a:custGeom>
              <a:avLst/>
              <a:gdLst/>
              <a:ahLst/>
              <a:cxnLst/>
              <a:rect l="l" t="t" r="r" b="b"/>
              <a:pathLst>
                <a:path w="628" h="628" extrusionOk="0">
                  <a:moveTo>
                    <a:pt x="315" y="1"/>
                  </a:moveTo>
                  <a:cubicBezTo>
                    <a:pt x="142" y="1"/>
                    <a:pt x="1" y="142"/>
                    <a:pt x="1" y="315"/>
                  </a:cubicBezTo>
                  <a:cubicBezTo>
                    <a:pt x="1" y="486"/>
                    <a:pt x="142" y="628"/>
                    <a:pt x="315" y="628"/>
                  </a:cubicBezTo>
                  <a:cubicBezTo>
                    <a:pt x="486" y="628"/>
                    <a:pt x="628" y="486"/>
                    <a:pt x="628" y="315"/>
                  </a:cubicBezTo>
                  <a:cubicBezTo>
                    <a:pt x="628" y="142"/>
                    <a:pt x="486" y="1"/>
                    <a:pt x="31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585;p16"/>
            <p:cNvSpPr/>
            <p:nvPr/>
          </p:nvSpPr>
          <p:spPr>
            <a:xfrm>
              <a:off x="6925344" y="5793716"/>
              <a:ext cx="20394" cy="20866"/>
            </a:xfrm>
            <a:custGeom>
              <a:avLst/>
              <a:gdLst/>
              <a:ahLst/>
              <a:cxnLst/>
              <a:rect l="l" t="t" r="r" b="b"/>
              <a:pathLst>
                <a:path w="628" h="626" extrusionOk="0">
                  <a:moveTo>
                    <a:pt x="315" y="0"/>
                  </a:moveTo>
                  <a:cubicBezTo>
                    <a:pt x="142" y="0"/>
                    <a:pt x="1" y="140"/>
                    <a:pt x="1" y="313"/>
                  </a:cubicBezTo>
                  <a:cubicBezTo>
                    <a:pt x="1" y="486"/>
                    <a:pt x="142" y="625"/>
                    <a:pt x="315" y="625"/>
                  </a:cubicBezTo>
                  <a:cubicBezTo>
                    <a:pt x="486" y="625"/>
                    <a:pt x="628" y="486"/>
                    <a:pt x="628" y="313"/>
                  </a:cubicBezTo>
                  <a:cubicBezTo>
                    <a:pt x="628" y="140"/>
                    <a:pt x="486" y="0"/>
                    <a:pt x="31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16"/>
            <p:cNvSpPr/>
            <p:nvPr/>
          </p:nvSpPr>
          <p:spPr>
            <a:xfrm>
              <a:off x="5970851" y="5602049"/>
              <a:ext cx="20394" cy="20933"/>
            </a:xfrm>
            <a:custGeom>
              <a:avLst/>
              <a:gdLst/>
              <a:ahLst/>
              <a:cxnLst/>
              <a:rect l="l" t="t" r="r" b="b"/>
              <a:pathLst>
                <a:path w="628" h="628" extrusionOk="0">
                  <a:moveTo>
                    <a:pt x="313" y="1"/>
                  </a:moveTo>
                  <a:cubicBezTo>
                    <a:pt x="140" y="1"/>
                    <a:pt x="1" y="142"/>
                    <a:pt x="1" y="315"/>
                  </a:cubicBezTo>
                  <a:cubicBezTo>
                    <a:pt x="1" y="486"/>
                    <a:pt x="142" y="628"/>
                    <a:pt x="313" y="628"/>
                  </a:cubicBezTo>
                  <a:cubicBezTo>
                    <a:pt x="486" y="628"/>
                    <a:pt x="627" y="486"/>
                    <a:pt x="627" y="315"/>
                  </a:cubicBezTo>
                  <a:cubicBezTo>
                    <a:pt x="627" y="142"/>
                    <a:pt x="486" y="1"/>
                    <a:pt x="313"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16"/>
            <p:cNvSpPr/>
            <p:nvPr/>
          </p:nvSpPr>
          <p:spPr>
            <a:xfrm>
              <a:off x="5970851" y="5793716"/>
              <a:ext cx="20394" cy="20866"/>
            </a:xfrm>
            <a:custGeom>
              <a:avLst/>
              <a:gdLst/>
              <a:ahLst/>
              <a:cxnLst/>
              <a:rect l="l" t="t" r="r" b="b"/>
              <a:pathLst>
                <a:path w="628" h="626" extrusionOk="0">
                  <a:moveTo>
                    <a:pt x="313" y="0"/>
                  </a:moveTo>
                  <a:cubicBezTo>
                    <a:pt x="140" y="0"/>
                    <a:pt x="1" y="140"/>
                    <a:pt x="1" y="313"/>
                  </a:cubicBezTo>
                  <a:cubicBezTo>
                    <a:pt x="1" y="486"/>
                    <a:pt x="142" y="625"/>
                    <a:pt x="313" y="625"/>
                  </a:cubicBezTo>
                  <a:cubicBezTo>
                    <a:pt x="486" y="625"/>
                    <a:pt x="627" y="486"/>
                    <a:pt x="627" y="313"/>
                  </a:cubicBezTo>
                  <a:cubicBezTo>
                    <a:pt x="627" y="140"/>
                    <a:pt x="486" y="0"/>
                    <a:pt x="31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8" name="Google Shape;588;p16"/>
          <p:cNvGrpSpPr/>
          <p:nvPr/>
        </p:nvGrpSpPr>
        <p:grpSpPr>
          <a:xfrm>
            <a:off x="8081315" y="-569760"/>
            <a:ext cx="1506255" cy="1546028"/>
            <a:chOff x="5200690" y="2456977"/>
            <a:chExt cx="1506255" cy="1546028"/>
          </a:xfrm>
        </p:grpSpPr>
        <p:sp>
          <p:nvSpPr>
            <p:cNvPr id="589" name="Google Shape;589;p16"/>
            <p:cNvSpPr/>
            <p:nvPr/>
          </p:nvSpPr>
          <p:spPr>
            <a:xfrm>
              <a:off x="5395284" y="2456977"/>
              <a:ext cx="6950" cy="1546028"/>
            </a:xfrm>
            <a:custGeom>
              <a:avLst/>
              <a:gdLst/>
              <a:ahLst/>
              <a:cxnLst/>
              <a:rect l="l" t="t" r="r" b="b"/>
              <a:pathLst>
                <a:path w="214" h="46382" extrusionOk="0">
                  <a:moveTo>
                    <a:pt x="1" y="1"/>
                  </a:moveTo>
                  <a:lnTo>
                    <a:pt x="1" y="46381"/>
                  </a:lnTo>
                  <a:lnTo>
                    <a:pt x="213" y="46381"/>
                  </a:lnTo>
                  <a:lnTo>
                    <a:pt x="21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16"/>
            <p:cNvSpPr/>
            <p:nvPr/>
          </p:nvSpPr>
          <p:spPr>
            <a:xfrm>
              <a:off x="5617353" y="2456977"/>
              <a:ext cx="6917" cy="1546028"/>
            </a:xfrm>
            <a:custGeom>
              <a:avLst/>
              <a:gdLst/>
              <a:ahLst/>
              <a:cxnLst/>
              <a:rect l="l" t="t" r="r" b="b"/>
              <a:pathLst>
                <a:path w="213" h="46382" extrusionOk="0">
                  <a:moveTo>
                    <a:pt x="0" y="1"/>
                  </a:moveTo>
                  <a:lnTo>
                    <a:pt x="0" y="46381"/>
                  </a:lnTo>
                  <a:lnTo>
                    <a:pt x="213" y="46381"/>
                  </a:lnTo>
                  <a:lnTo>
                    <a:pt x="21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591;p16"/>
            <p:cNvSpPr/>
            <p:nvPr/>
          </p:nvSpPr>
          <p:spPr>
            <a:xfrm>
              <a:off x="5839389" y="2456977"/>
              <a:ext cx="6950" cy="1546028"/>
            </a:xfrm>
            <a:custGeom>
              <a:avLst/>
              <a:gdLst/>
              <a:ahLst/>
              <a:cxnLst/>
              <a:rect l="l" t="t" r="r" b="b"/>
              <a:pathLst>
                <a:path w="214" h="46382" extrusionOk="0">
                  <a:moveTo>
                    <a:pt x="1" y="1"/>
                  </a:moveTo>
                  <a:lnTo>
                    <a:pt x="1" y="46381"/>
                  </a:lnTo>
                  <a:lnTo>
                    <a:pt x="213" y="46381"/>
                  </a:lnTo>
                  <a:lnTo>
                    <a:pt x="21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592;p16"/>
            <p:cNvSpPr/>
            <p:nvPr/>
          </p:nvSpPr>
          <p:spPr>
            <a:xfrm>
              <a:off x="6061458" y="2456977"/>
              <a:ext cx="6917" cy="1546028"/>
            </a:xfrm>
            <a:custGeom>
              <a:avLst/>
              <a:gdLst/>
              <a:ahLst/>
              <a:cxnLst/>
              <a:rect l="l" t="t" r="r" b="b"/>
              <a:pathLst>
                <a:path w="213" h="46382" extrusionOk="0">
                  <a:moveTo>
                    <a:pt x="0" y="1"/>
                  </a:moveTo>
                  <a:lnTo>
                    <a:pt x="0" y="46381"/>
                  </a:lnTo>
                  <a:lnTo>
                    <a:pt x="213" y="46381"/>
                  </a:lnTo>
                  <a:lnTo>
                    <a:pt x="21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593;p16"/>
            <p:cNvSpPr/>
            <p:nvPr/>
          </p:nvSpPr>
          <p:spPr>
            <a:xfrm>
              <a:off x="6283494" y="2456977"/>
              <a:ext cx="6950" cy="1546028"/>
            </a:xfrm>
            <a:custGeom>
              <a:avLst/>
              <a:gdLst/>
              <a:ahLst/>
              <a:cxnLst/>
              <a:rect l="l" t="t" r="r" b="b"/>
              <a:pathLst>
                <a:path w="214" h="46382" extrusionOk="0">
                  <a:moveTo>
                    <a:pt x="1" y="1"/>
                  </a:moveTo>
                  <a:lnTo>
                    <a:pt x="1" y="46381"/>
                  </a:lnTo>
                  <a:lnTo>
                    <a:pt x="213" y="46381"/>
                  </a:lnTo>
                  <a:lnTo>
                    <a:pt x="213"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594;p16"/>
            <p:cNvSpPr/>
            <p:nvPr/>
          </p:nvSpPr>
          <p:spPr>
            <a:xfrm>
              <a:off x="6505498" y="2456977"/>
              <a:ext cx="6885" cy="1546028"/>
            </a:xfrm>
            <a:custGeom>
              <a:avLst/>
              <a:gdLst/>
              <a:ahLst/>
              <a:cxnLst/>
              <a:rect l="l" t="t" r="r" b="b"/>
              <a:pathLst>
                <a:path w="212" h="46382" extrusionOk="0">
                  <a:moveTo>
                    <a:pt x="1" y="1"/>
                  </a:moveTo>
                  <a:lnTo>
                    <a:pt x="1" y="46381"/>
                  </a:lnTo>
                  <a:lnTo>
                    <a:pt x="212" y="46381"/>
                  </a:lnTo>
                  <a:lnTo>
                    <a:pt x="21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16"/>
            <p:cNvSpPr/>
            <p:nvPr/>
          </p:nvSpPr>
          <p:spPr>
            <a:xfrm>
              <a:off x="5200690" y="2656678"/>
              <a:ext cx="1506255" cy="7100"/>
            </a:xfrm>
            <a:custGeom>
              <a:avLst/>
              <a:gdLst/>
              <a:ahLst/>
              <a:cxnLst/>
              <a:rect l="l" t="t" r="r" b="b"/>
              <a:pathLst>
                <a:path w="46382" h="213" extrusionOk="0">
                  <a:moveTo>
                    <a:pt x="1" y="0"/>
                  </a:moveTo>
                  <a:lnTo>
                    <a:pt x="1" y="213"/>
                  </a:lnTo>
                  <a:lnTo>
                    <a:pt x="46382" y="213"/>
                  </a:lnTo>
                  <a:lnTo>
                    <a:pt x="46382"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596;p16"/>
            <p:cNvSpPr/>
            <p:nvPr/>
          </p:nvSpPr>
          <p:spPr>
            <a:xfrm>
              <a:off x="5200690" y="2884645"/>
              <a:ext cx="1506255" cy="7100"/>
            </a:xfrm>
            <a:custGeom>
              <a:avLst/>
              <a:gdLst/>
              <a:ahLst/>
              <a:cxnLst/>
              <a:rect l="l" t="t" r="r" b="b"/>
              <a:pathLst>
                <a:path w="46382" h="213" extrusionOk="0">
                  <a:moveTo>
                    <a:pt x="1" y="0"/>
                  </a:moveTo>
                  <a:lnTo>
                    <a:pt x="1" y="213"/>
                  </a:lnTo>
                  <a:lnTo>
                    <a:pt x="46382" y="213"/>
                  </a:lnTo>
                  <a:lnTo>
                    <a:pt x="46382"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597;p16"/>
            <p:cNvSpPr/>
            <p:nvPr/>
          </p:nvSpPr>
          <p:spPr>
            <a:xfrm>
              <a:off x="5200690" y="3112545"/>
              <a:ext cx="1506255" cy="7066"/>
            </a:xfrm>
            <a:custGeom>
              <a:avLst/>
              <a:gdLst/>
              <a:ahLst/>
              <a:cxnLst/>
              <a:rect l="l" t="t" r="r" b="b"/>
              <a:pathLst>
                <a:path w="46382" h="212" extrusionOk="0">
                  <a:moveTo>
                    <a:pt x="1" y="1"/>
                  </a:moveTo>
                  <a:lnTo>
                    <a:pt x="1" y="212"/>
                  </a:lnTo>
                  <a:lnTo>
                    <a:pt x="46382" y="212"/>
                  </a:lnTo>
                  <a:lnTo>
                    <a:pt x="463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598;p16"/>
            <p:cNvSpPr/>
            <p:nvPr/>
          </p:nvSpPr>
          <p:spPr>
            <a:xfrm>
              <a:off x="5200690" y="3340412"/>
              <a:ext cx="1506255" cy="7133"/>
            </a:xfrm>
            <a:custGeom>
              <a:avLst/>
              <a:gdLst/>
              <a:ahLst/>
              <a:cxnLst/>
              <a:rect l="l" t="t" r="r" b="b"/>
              <a:pathLst>
                <a:path w="46382" h="214" extrusionOk="0">
                  <a:moveTo>
                    <a:pt x="1" y="1"/>
                  </a:moveTo>
                  <a:lnTo>
                    <a:pt x="1" y="213"/>
                  </a:lnTo>
                  <a:lnTo>
                    <a:pt x="46382" y="213"/>
                  </a:lnTo>
                  <a:lnTo>
                    <a:pt x="463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599;p16"/>
            <p:cNvSpPr/>
            <p:nvPr/>
          </p:nvSpPr>
          <p:spPr>
            <a:xfrm>
              <a:off x="5200690" y="3568346"/>
              <a:ext cx="1506255" cy="7100"/>
            </a:xfrm>
            <a:custGeom>
              <a:avLst/>
              <a:gdLst/>
              <a:ahLst/>
              <a:cxnLst/>
              <a:rect l="l" t="t" r="r" b="b"/>
              <a:pathLst>
                <a:path w="46382" h="213" extrusionOk="0">
                  <a:moveTo>
                    <a:pt x="1" y="0"/>
                  </a:moveTo>
                  <a:lnTo>
                    <a:pt x="1" y="212"/>
                  </a:lnTo>
                  <a:lnTo>
                    <a:pt x="46382" y="212"/>
                  </a:lnTo>
                  <a:lnTo>
                    <a:pt x="46382"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600;p16"/>
            <p:cNvSpPr/>
            <p:nvPr/>
          </p:nvSpPr>
          <p:spPr>
            <a:xfrm>
              <a:off x="5200690" y="3796279"/>
              <a:ext cx="1506255" cy="7133"/>
            </a:xfrm>
            <a:custGeom>
              <a:avLst/>
              <a:gdLst/>
              <a:ahLst/>
              <a:cxnLst/>
              <a:rect l="l" t="t" r="r" b="b"/>
              <a:pathLst>
                <a:path w="46382" h="214" extrusionOk="0">
                  <a:moveTo>
                    <a:pt x="1" y="1"/>
                  </a:moveTo>
                  <a:lnTo>
                    <a:pt x="1" y="213"/>
                  </a:lnTo>
                  <a:lnTo>
                    <a:pt x="46382" y="213"/>
                  </a:lnTo>
                  <a:lnTo>
                    <a:pt x="46382"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01" name="Google Shape;601;p16"/>
          <p:cNvSpPr/>
          <p:nvPr/>
        </p:nvSpPr>
        <p:spPr>
          <a:xfrm>
            <a:off x="8387301" y="655975"/>
            <a:ext cx="228267" cy="234261"/>
          </a:xfrm>
          <a:custGeom>
            <a:avLst/>
            <a:gdLst/>
            <a:ahLst/>
            <a:cxnLst/>
            <a:rect l="l" t="t" r="r" b="b"/>
            <a:pathLst>
              <a:path w="7029" h="7028" extrusionOk="0">
                <a:moveTo>
                  <a:pt x="3514" y="582"/>
                </a:moveTo>
                <a:cubicBezTo>
                  <a:pt x="5131" y="582"/>
                  <a:pt x="6445" y="1898"/>
                  <a:pt x="6445" y="3514"/>
                </a:cubicBezTo>
                <a:cubicBezTo>
                  <a:pt x="6445" y="5131"/>
                  <a:pt x="5131" y="6445"/>
                  <a:pt x="3514" y="6445"/>
                </a:cubicBezTo>
                <a:cubicBezTo>
                  <a:pt x="1898" y="6445"/>
                  <a:pt x="584" y="5131"/>
                  <a:pt x="584" y="3514"/>
                </a:cubicBezTo>
                <a:cubicBezTo>
                  <a:pt x="584" y="1898"/>
                  <a:pt x="1898" y="582"/>
                  <a:pt x="3514" y="582"/>
                </a:cubicBezTo>
                <a:close/>
                <a:moveTo>
                  <a:pt x="3514" y="1"/>
                </a:moveTo>
                <a:cubicBezTo>
                  <a:pt x="1578" y="1"/>
                  <a:pt x="1" y="1576"/>
                  <a:pt x="1" y="3514"/>
                </a:cubicBezTo>
                <a:cubicBezTo>
                  <a:pt x="1" y="5451"/>
                  <a:pt x="1578" y="7028"/>
                  <a:pt x="3514" y="7028"/>
                </a:cubicBezTo>
                <a:cubicBezTo>
                  <a:pt x="5451" y="7028"/>
                  <a:pt x="7028" y="5451"/>
                  <a:pt x="7028" y="3514"/>
                </a:cubicBezTo>
                <a:cubicBezTo>
                  <a:pt x="7027" y="1575"/>
                  <a:pt x="5451" y="1"/>
                  <a:pt x="351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602;p16"/>
          <p:cNvSpPr txBox="1">
            <a:spLocks noGrp="1"/>
          </p:cNvSpPr>
          <p:nvPr>
            <p:ph type="title" idx="9"/>
          </p:nvPr>
        </p:nvSpPr>
        <p:spPr>
          <a:xfrm>
            <a:off x="5913075" y="4942778"/>
            <a:ext cx="2760300" cy="7035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2400"/>
            </a:lvl1pPr>
            <a:lvl2pPr lvl="1" rtl="0">
              <a:spcBef>
                <a:spcPts val="0"/>
              </a:spcBef>
              <a:spcAft>
                <a:spcPts val="0"/>
              </a:spcAft>
              <a:buSzPts val="2400"/>
              <a:buNone/>
              <a:defRPr sz="2400"/>
            </a:lvl2pPr>
            <a:lvl3pPr lvl="2" rtl="0">
              <a:spcBef>
                <a:spcPts val="0"/>
              </a:spcBef>
              <a:spcAft>
                <a:spcPts val="0"/>
              </a:spcAft>
              <a:buSzPts val="2400"/>
              <a:buNone/>
              <a:defRPr sz="2400"/>
            </a:lvl3pPr>
            <a:lvl4pPr lvl="3" rtl="0">
              <a:spcBef>
                <a:spcPts val="0"/>
              </a:spcBef>
              <a:spcAft>
                <a:spcPts val="0"/>
              </a:spcAft>
              <a:buSzPts val="2400"/>
              <a:buNone/>
              <a:defRPr sz="2400"/>
            </a:lvl4pPr>
            <a:lvl5pPr lvl="4" rtl="0">
              <a:spcBef>
                <a:spcPts val="0"/>
              </a:spcBef>
              <a:spcAft>
                <a:spcPts val="0"/>
              </a:spcAft>
              <a:buSzPts val="2400"/>
              <a:buNone/>
              <a:defRPr sz="2400"/>
            </a:lvl5pPr>
            <a:lvl6pPr lvl="5" rtl="0">
              <a:spcBef>
                <a:spcPts val="0"/>
              </a:spcBef>
              <a:spcAft>
                <a:spcPts val="0"/>
              </a:spcAft>
              <a:buSzPts val="2400"/>
              <a:buNone/>
              <a:defRPr sz="2400"/>
            </a:lvl6pPr>
            <a:lvl7pPr lvl="6" rtl="0">
              <a:spcBef>
                <a:spcPts val="0"/>
              </a:spcBef>
              <a:spcAft>
                <a:spcPts val="0"/>
              </a:spcAft>
              <a:buSzPts val="2400"/>
              <a:buNone/>
              <a:defRPr sz="2400"/>
            </a:lvl7pPr>
            <a:lvl8pPr lvl="7" rtl="0">
              <a:spcBef>
                <a:spcPts val="0"/>
              </a:spcBef>
              <a:spcAft>
                <a:spcPts val="0"/>
              </a:spcAft>
              <a:buSzPts val="2400"/>
              <a:buNone/>
              <a:defRPr sz="2400"/>
            </a:lvl8pPr>
            <a:lvl9pPr lvl="8" rtl="0">
              <a:spcBef>
                <a:spcPts val="0"/>
              </a:spcBef>
              <a:spcAft>
                <a:spcPts val="0"/>
              </a:spcAft>
              <a:buSzPts val="2400"/>
              <a:buNone/>
              <a:defRPr sz="2400"/>
            </a:lvl9pPr>
          </a:lstStyle>
          <a:p>
            <a:endParaRPr/>
          </a:p>
        </p:txBody>
      </p:sp>
      <p:sp>
        <p:nvSpPr>
          <p:cNvPr id="603" name="Google Shape;603;p16"/>
          <p:cNvSpPr txBox="1">
            <a:spLocks noGrp="1"/>
          </p:cNvSpPr>
          <p:nvPr>
            <p:ph type="title" idx="13" hasCustomPrompt="1"/>
          </p:nvPr>
        </p:nvSpPr>
        <p:spPr>
          <a:xfrm>
            <a:off x="5913075" y="4463280"/>
            <a:ext cx="1275300" cy="748800"/>
          </a:xfrm>
          <a:prstGeom prst="rect">
            <a:avLst/>
          </a:prstGeom>
        </p:spPr>
        <p:txBody>
          <a:bodyPr spcFirstLastPara="1" wrap="square" lIns="91425" tIns="91425" rIns="91425" bIns="91425" anchor="b" anchorCtr="0">
            <a:noAutofit/>
          </a:bodyPr>
          <a:lstStyle>
            <a:lvl1pPr lvl="0" rtl="0">
              <a:spcBef>
                <a:spcPts val="0"/>
              </a:spcBef>
              <a:spcAft>
                <a:spcPts val="0"/>
              </a:spcAft>
              <a:buSzPts val="3000"/>
              <a:buNone/>
              <a:defRPr sz="3000">
                <a:solidFill>
                  <a:schemeClr val="dk2"/>
                </a:solidFill>
              </a:defRPr>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604" name="Google Shape;604;p16"/>
          <p:cNvSpPr txBox="1">
            <a:spLocks noGrp="1"/>
          </p:cNvSpPr>
          <p:nvPr>
            <p:ph type="subTitle" idx="14"/>
          </p:nvPr>
        </p:nvSpPr>
        <p:spPr>
          <a:xfrm>
            <a:off x="5913075" y="5492683"/>
            <a:ext cx="2336400" cy="6465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400"/>
            </a:lvl1pPr>
            <a:lvl2pPr lvl="1" rtl="0">
              <a:lnSpc>
                <a:spcPct val="100000"/>
              </a:lnSpc>
              <a:spcBef>
                <a:spcPts val="1600"/>
              </a:spcBef>
              <a:spcAft>
                <a:spcPts val="0"/>
              </a:spcAft>
              <a:buSzPts val="1400"/>
              <a:buNone/>
              <a:defRPr/>
            </a:lvl2pPr>
            <a:lvl3pPr lvl="2" rtl="0">
              <a:lnSpc>
                <a:spcPct val="100000"/>
              </a:lnSpc>
              <a:spcBef>
                <a:spcPts val="1600"/>
              </a:spcBef>
              <a:spcAft>
                <a:spcPts val="0"/>
              </a:spcAft>
              <a:buSzPts val="1400"/>
              <a:buNone/>
              <a:defRPr/>
            </a:lvl3pPr>
            <a:lvl4pPr lvl="3" rtl="0">
              <a:lnSpc>
                <a:spcPct val="100000"/>
              </a:lnSpc>
              <a:spcBef>
                <a:spcPts val="1600"/>
              </a:spcBef>
              <a:spcAft>
                <a:spcPts val="0"/>
              </a:spcAft>
              <a:buSzPts val="1400"/>
              <a:buNone/>
              <a:defRPr/>
            </a:lvl4pPr>
            <a:lvl5pPr lvl="4" rtl="0">
              <a:lnSpc>
                <a:spcPct val="100000"/>
              </a:lnSpc>
              <a:spcBef>
                <a:spcPts val="1600"/>
              </a:spcBef>
              <a:spcAft>
                <a:spcPts val="0"/>
              </a:spcAft>
              <a:buSzPts val="1400"/>
              <a:buNone/>
              <a:defRPr/>
            </a:lvl5pPr>
            <a:lvl6pPr lvl="5" rtl="0">
              <a:lnSpc>
                <a:spcPct val="100000"/>
              </a:lnSpc>
              <a:spcBef>
                <a:spcPts val="1600"/>
              </a:spcBef>
              <a:spcAft>
                <a:spcPts val="0"/>
              </a:spcAft>
              <a:buSzPts val="1400"/>
              <a:buNone/>
              <a:defRPr/>
            </a:lvl6pPr>
            <a:lvl7pPr lvl="6" rtl="0">
              <a:lnSpc>
                <a:spcPct val="100000"/>
              </a:lnSpc>
              <a:spcBef>
                <a:spcPts val="1600"/>
              </a:spcBef>
              <a:spcAft>
                <a:spcPts val="0"/>
              </a:spcAft>
              <a:buSzPts val="1400"/>
              <a:buNone/>
              <a:defRPr/>
            </a:lvl7pPr>
            <a:lvl8pPr lvl="7" rtl="0">
              <a:lnSpc>
                <a:spcPct val="100000"/>
              </a:lnSpc>
              <a:spcBef>
                <a:spcPts val="1600"/>
              </a:spcBef>
              <a:spcAft>
                <a:spcPts val="0"/>
              </a:spcAft>
              <a:buSzPts val="1400"/>
              <a:buNone/>
              <a:defRPr/>
            </a:lvl8pPr>
            <a:lvl9pPr lvl="8" rtl="0">
              <a:lnSpc>
                <a:spcPct val="100000"/>
              </a:lnSpc>
              <a:spcBef>
                <a:spcPts val="1600"/>
              </a:spcBef>
              <a:spcAft>
                <a:spcPts val="1600"/>
              </a:spcAft>
              <a:buSzPts val="1400"/>
              <a:buNone/>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Quote">
  <p:cSld name="BLANK_1_1">
    <p:spTree>
      <p:nvGrpSpPr>
        <p:cNvPr id="1" name="Shape 605"/>
        <p:cNvGrpSpPr/>
        <p:nvPr/>
      </p:nvGrpSpPr>
      <p:grpSpPr>
        <a:xfrm>
          <a:off x="0" y="0"/>
          <a:ext cx="0" cy="0"/>
          <a:chOff x="0" y="0"/>
          <a:chExt cx="0" cy="0"/>
        </a:xfrm>
      </p:grpSpPr>
      <p:sp>
        <p:nvSpPr>
          <p:cNvPr id="606" name="Google Shape;606;p17"/>
          <p:cNvSpPr txBox="1">
            <a:spLocks noGrp="1"/>
          </p:cNvSpPr>
          <p:nvPr>
            <p:ph type="subTitle" idx="1"/>
          </p:nvPr>
        </p:nvSpPr>
        <p:spPr>
          <a:xfrm>
            <a:off x="1802550" y="2553488"/>
            <a:ext cx="5538900" cy="22683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3000"/>
            </a:lvl1pPr>
            <a:lvl2pPr lvl="1" algn="ctr" rtl="0">
              <a:lnSpc>
                <a:spcPct val="100000"/>
              </a:lnSpc>
              <a:spcBef>
                <a:spcPts val="160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cxnSp>
        <p:nvCxnSpPr>
          <p:cNvPr id="607" name="Google Shape;607;p17"/>
          <p:cNvCxnSpPr/>
          <p:nvPr/>
        </p:nvCxnSpPr>
        <p:spPr>
          <a:xfrm>
            <a:off x="8516600" y="6520375"/>
            <a:ext cx="306000" cy="0"/>
          </a:xfrm>
          <a:prstGeom prst="straightConnector1">
            <a:avLst/>
          </a:prstGeom>
          <a:noFill/>
          <a:ln w="9525" cap="flat" cmpd="sng">
            <a:solidFill>
              <a:schemeClr val="dk2"/>
            </a:solidFill>
            <a:prstDash val="solid"/>
            <a:round/>
            <a:headEnd type="none" w="med" len="med"/>
            <a:tailEnd type="stealth" w="med" len="med"/>
          </a:ln>
        </p:spPr>
      </p:cxnSp>
      <p:cxnSp>
        <p:nvCxnSpPr>
          <p:cNvPr id="608" name="Google Shape;608;p17"/>
          <p:cNvCxnSpPr/>
          <p:nvPr/>
        </p:nvCxnSpPr>
        <p:spPr>
          <a:xfrm rot="10800000">
            <a:off x="8025400" y="6520375"/>
            <a:ext cx="306000" cy="0"/>
          </a:xfrm>
          <a:prstGeom prst="straightConnector1">
            <a:avLst/>
          </a:prstGeom>
          <a:noFill/>
          <a:ln w="9525" cap="flat" cmpd="sng">
            <a:solidFill>
              <a:schemeClr val="dk2"/>
            </a:solidFill>
            <a:prstDash val="solid"/>
            <a:round/>
            <a:headEnd type="none" w="med" len="med"/>
            <a:tailEnd type="stealth" w="med" len="med"/>
          </a:ln>
        </p:spPr>
      </p:cxnSp>
      <p:sp>
        <p:nvSpPr>
          <p:cNvPr id="609" name="Google Shape;609;p17"/>
          <p:cNvSpPr txBox="1">
            <a:spLocks noGrp="1"/>
          </p:cNvSpPr>
          <p:nvPr>
            <p:ph type="subTitle" idx="2"/>
          </p:nvPr>
        </p:nvSpPr>
        <p:spPr>
          <a:xfrm>
            <a:off x="882350" y="720000"/>
            <a:ext cx="1106700" cy="462000"/>
          </a:xfrm>
          <a:prstGeom prst="rect">
            <a:avLst/>
          </a:prstGeom>
          <a:ln>
            <a:noFill/>
          </a:ln>
        </p:spPr>
        <p:txBody>
          <a:bodyPr spcFirstLastPara="1" wrap="square" lIns="91425" tIns="91425" rIns="91425" bIns="91425" anchor="ctr" anchorCtr="0">
            <a:noAutofit/>
          </a:bodyPr>
          <a:lstStyle>
            <a:lvl1pPr lvl="0" algn="ctr" rtl="0">
              <a:lnSpc>
                <a:spcPct val="100000"/>
              </a:lnSpc>
              <a:spcBef>
                <a:spcPts val="0"/>
              </a:spcBef>
              <a:spcAft>
                <a:spcPts val="0"/>
              </a:spcAft>
              <a:buClr>
                <a:schemeClr val="dk2"/>
              </a:buClr>
              <a:buSzPts val="1100"/>
              <a:buNone/>
              <a:defRPr sz="950">
                <a:latin typeface="Nunito"/>
                <a:ea typeface="Nunito"/>
                <a:cs typeface="Nunito"/>
                <a:sym typeface="Nunito"/>
              </a:defRPr>
            </a:lvl1pPr>
            <a:lvl2pPr lvl="1" algn="ctr" rtl="0">
              <a:lnSpc>
                <a:spcPct val="100000"/>
              </a:lnSpc>
              <a:spcBef>
                <a:spcPts val="0"/>
              </a:spcBef>
              <a:spcAft>
                <a:spcPts val="0"/>
              </a:spcAft>
              <a:buClr>
                <a:schemeClr val="dk2"/>
              </a:buClr>
              <a:buSzPts val="1100"/>
              <a:buNone/>
              <a:defRPr sz="1100" b="1">
                <a:solidFill>
                  <a:schemeClr val="dk2"/>
                </a:solidFill>
              </a:defRPr>
            </a:lvl2pPr>
            <a:lvl3pPr lvl="2" algn="ctr" rtl="0">
              <a:lnSpc>
                <a:spcPct val="100000"/>
              </a:lnSpc>
              <a:spcBef>
                <a:spcPts val="0"/>
              </a:spcBef>
              <a:spcAft>
                <a:spcPts val="0"/>
              </a:spcAft>
              <a:buClr>
                <a:schemeClr val="dk2"/>
              </a:buClr>
              <a:buSzPts val="1100"/>
              <a:buNone/>
              <a:defRPr sz="1100" b="1">
                <a:solidFill>
                  <a:schemeClr val="dk2"/>
                </a:solidFill>
              </a:defRPr>
            </a:lvl3pPr>
            <a:lvl4pPr lvl="3" algn="ctr" rtl="0">
              <a:lnSpc>
                <a:spcPct val="100000"/>
              </a:lnSpc>
              <a:spcBef>
                <a:spcPts val="0"/>
              </a:spcBef>
              <a:spcAft>
                <a:spcPts val="0"/>
              </a:spcAft>
              <a:buClr>
                <a:schemeClr val="dk2"/>
              </a:buClr>
              <a:buSzPts val="1100"/>
              <a:buNone/>
              <a:defRPr sz="1100" b="1">
                <a:solidFill>
                  <a:schemeClr val="dk2"/>
                </a:solidFill>
              </a:defRPr>
            </a:lvl4pPr>
            <a:lvl5pPr lvl="4" algn="ctr" rtl="0">
              <a:lnSpc>
                <a:spcPct val="100000"/>
              </a:lnSpc>
              <a:spcBef>
                <a:spcPts val="0"/>
              </a:spcBef>
              <a:spcAft>
                <a:spcPts val="0"/>
              </a:spcAft>
              <a:buClr>
                <a:schemeClr val="dk2"/>
              </a:buClr>
              <a:buSzPts val="1100"/>
              <a:buNone/>
              <a:defRPr sz="1100" b="1">
                <a:solidFill>
                  <a:schemeClr val="dk2"/>
                </a:solidFill>
              </a:defRPr>
            </a:lvl5pPr>
            <a:lvl6pPr lvl="5" algn="ctr" rtl="0">
              <a:lnSpc>
                <a:spcPct val="100000"/>
              </a:lnSpc>
              <a:spcBef>
                <a:spcPts val="0"/>
              </a:spcBef>
              <a:spcAft>
                <a:spcPts val="0"/>
              </a:spcAft>
              <a:buClr>
                <a:schemeClr val="dk2"/>
              </a:buClr>
              <a:buSzPts val="1100"/>
              <a:buNone/>
              <a:defRPr sz="1100" b="1">
                <a:solidFill>
                  <a:schemeClr val="dk2"/>
                </a:solidFill>
              </a:defRPr>
            </a:lvl6pPr>
            <a:lvl7pPr lvl="6" algn="ctr" rtl="0">
              <a:lnSpc>
                <a:spcPct val="100000"/>
              </a:lnSpc>
              <a:spcBef>
                <a:spcPts val="0"/>
              </a:spcBef>
              <a:spcAft>
                <a:spcPts val="0"/>
              </a:spcAft>
              <a:buClr>
                <a:schemeClr val="dk2"/>
              </a:buClr>
              <a:buSzPts val="1100"/>
              <a:buNone/>
              <a:defRPr sz="1100" b="1">
                <a:solidFill>
                  <a:schemeClr val="dk2"/>
                </a:solidFill>
              </a:defRPr>
            </a:lvl7pPr>
            <a:lvl8pPr lvl="7" algn="ctr" rtl="0">
              <a:lnSpc>
                <a:spcPct val="100000"/>
              </a:lnSpc>
              <a:spcBef>
                <a:spcPts val="0"/>
              </a:spcBef>
              <a:spcAft>
                <a:spcPts val="0"/>
              </a:spcAft>
              <a:buClr>
                <a:schemeClr val="dk2"/>
              </a:buClr>
              <a:buSzPts val="1100"/>
              <a:buNone/>
              <a:defRPr sz="1100" b="1">
                <a:solidFill>
                  <a:schemeClr val="dk2"/>
                </a:solidFill>
              </a:defRPr>
            </a:lvl8pPr>
            <a:lvl9pPr lvl="8" algn="ctr" rtl="0">
              <a:lnSpc>
                <a:spcPct val="100000"/>
              </a:lnSpc>
              <a:spcBef>
                <a:spcPts val="0"/>
              </a:spcBef>
              <a:spcAft>
                <a:spcPts val="0"/>
              </a:spcAft>
              <a:buClr>
                <a:schemeClr val="dk2"/>
              </a:buClr>
              <a:buSzPts val="1100"/>
              <a:buNone/>
              <a:defRPr sz="1100" b="1">
                <a:solidFill>
                  <a:schemeClr val="dk2"/>
                </a:solidFill>
              </a:defRPr>
            </a:lvl9pPr>
          </a:lstStyle>
          <a:p>
            <a:endParaRPr/>
          </a:p>
        </p:txBody>
      </p:sp>
      <p:sp>
        <p:nvSpPr>
          <p:cNvPr id="610" name="Google Shape;610;p17">
            <a:hlinkClick r:id="rId2" action="ppaction://hlinksldjump"/>
          </p:cNvPr>
          <p:cNvSpPr txBox="1">
            <a:spLocks noGrp="1"/>
          </p:cNvSpPr>
          <p:nvPr>
            <p:ph type="subTitle" idx="3"/>
          </p:nvPr>
        </p:nvSpPr>
        <p:spPr>
          <a:xfrm>
            <a:off x="2046700" y="720000"/>
            <a:ext cx="1106700" cy="462000"/>
          </a:xfrm>
          <a:prstGeom prst="rect">
            <a:avLst/>
          </a:prstGeom>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solidFill>
                  <a:schemeClr val="dk2"/>
                </a:solidFill>
                <a:latin typeface="Nunito Black"/>
                <a:ea typeface="Nunito Black"/>
                <a:cs typeface="Nunito Black"/>
                <a:sym typeface="Nunito Black"/>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
        <p:nvSpPr>
          <p:cNvPr id="611" name="Google Shape;611;p17"/>
          <p:cNvSpPr txBox="1">
            <a:spLocks noGrp="1"/>
          </p:cNvSpPr>
          <p:nvPr>
            <p:ph type="subTitle" idx="4"/>
          </p:nvPr>
        </p:nvSpPr>
        <p:spPr>
          <a:xfrm>
            <a:off x="3211050" y="720000"/>
            <a:ext cx="1106700" cy="462000"/>
          </a:xfrm>
          <a:prstGeom prst="rect">
            <a:avLst/>
          </a:prstGeom>
          <a:ln>
            <a:noFill/>
          </a:ln>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latin typeface="Nunito"/>
                <a:ea typeface="Nunito"/>
                <a:cs typeface="Nunito"/>
                <a:sym typeface="Nunito"/>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
        <p:nvSpPr>
          <p:cNvPr id="612" name="Google Shape;612;p17"/>
          <p:cNvSpPr txBox="1">
            <a:spLocks noGrp="1"/>
          </p:cNvSpPr>
          <p:nvPr>
            <p:ph type="subTitle" idx="5"/>
          </p:nvPr>
        </p:nvSpPr>
        <p:spPr>
          <a:xfrm>
            <a:off x="4375400" y="720000"/>
            <a:ext cx="1106700" cy="462000"/>
          </a:xfrm>
          <a:prstGeom prst="rect">
            <a:avLst/>
          </a:prstGeom>
          <a:ln>
            <a:noFill/>
          </a:ln>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
        <p:nvSpPr>
          <p:cNvPr id="613" name="Google Shape;613;p17"/>
          <p:cNvSpPr txBox="1">
            <a:spLocks noGrp="1"/>
          </p:cNvSpPr>
          <p:nvPr>
            <p:ph type="title"/>
          </p:nvPr>
        </p:nvSpPr>
        <p:spPr>
          <a:xfrm>
            <a:off x="3146850" y="1809725"/>
            <a:ext cx="2850300" cy="12711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1800"/>
              <a:buNone/>
              <a:defRPr sz="15000">
                <a:solidFill>
                  <a:schemeClr val="accent6"/>
                </a:solidFill>
              </a:defRPr>
            </a:lvl1pPr>
            <a:lvl2pPr lvl="1" algn="ctr" rtl="0">
              <a:spcBef>
                <a:spcPts val="0"/>
              </a:spcBef>
              <a:spcAft>
                <a:spcPts val="0"/>
              </a:spcAft>
              <a:buSzPts val="1800"/>
              <a:buNone/>
              <a:defRPr sz="1800"/>
            </a:lvl2pPr>
            <a:lvl3pPr lvl="2" algn="ctr" rtl="0">
              <a:spcBef>
                <a:spcPts val="0"/>
              </a:spcBef>
              <a:spcAft>
                <a:spcPts val="0"/>
              </a:spcAft>
              <a:buSzPts val="1800"/>
              <a:buNone/>
              <a:defRPr sz="1800"/>
            </a:lvl3pPr>
            <a:lvl4pPr lvl="3" algn="ctr" rtl="0">
              <a:spcBef>
                <a:spcPts val="0"/>
              </a:spcBef>
              <a:spcAft>
                <a:spcPts val="0"/>
              </a:spcAft>
              <a:buSzPts val="1800"/>
              <a:buNone/>
              <a:defRPr sz="1800"/>
            </a:lvl4pPr>
            <a:lvl5pPr lvl="4" algn="ctr" rtl="0">
              <a:spcBef>
                <a:spcPts val="0"/>
              </a:spcBef>
              <a:spcAft>
                <a:spcPts val="0"/>
              </a:spcAft>
              <a:buSzPts val="1800"/>
              <a:buNone/>
              <a:defRPr sz="1800"/>
            </a:lvl5pPr>
            <a:lvl6pPr lvl="5" algn="ctr" rtl="0">
              <a:spcBef>
                <a:spcPts val="0"/>
              </a:spcBef>
              <a:spcAft>
                <a:spcPts val="0"/>
              </a:spcAft>
              <a:buSzPts val="1800"/>
              <a:buNone/>
              <a:defRPr sz="1800"/>
            </a:lvl6pPr>
            <a:lvl7pPr lvl="6" algn="ctr" rtl="0">
              <a:spcBef>
                <a:spcPts val="0"/>
              </a:spcBef>
              <a:spcAft>
                <a:spcPts val="0"/>
              </a:spcAft>
              <a:buSzPts val="1800"/>
              <a:buNone/>
              <a:defRPr sz="1800"/>
            </a:lvl7pPr>
            <a:lvl8pPr lvl="7" algn="ctr" rtl="0">
              <a:spcBef>
                <a:spcPts val="0"/>
              </a:spcBef>
              <a:spcAft>
                <a:spcPts val="0"/>
              </a:spcAft>
              <a:buSzPts val="1800"/>
              <a:buNone/>
              <a:defRPr sz="1800"/>
            </a:lvl8pPr>
            <a:lvl9pPr lvl="8" algn="ctr" rtl="0">
              <a:spcBef>
                <a:spcPts val="0"/>
              </a:spcBef>
              <a:spcAft>
                <a:spcPts val="0"/>
              </a:spcAft>
              <a:buSzPts val="1800"/>
              <a:buNone/>
              <a:defRPr sz="1800"/>
            </a:lvl9pPr>
          </a:lstStyle>
          <a:p>
            <a:endParaRPr/>
          </a:p>
        </p:txBody>
      </p:sp>
      <p:sp>
        <p:nvSpPr>
          <p:cNvPr id="614" name="Google Shape;614;p17"/>
          <p:cNvSpPr txBox="1">
            <a:spLocks noGrp="1"/>
          </p:cNvSpPr>
          <p:nvPr>
            <p:ph type="title" idx="6"/>
          </p:nvPr>
        </p:nvSpPr>
        <p:spPr>
          <a:xfrm>
            <a:off x="1802550" y="4713713"/>
            <a:ext cx="5538900" cy="709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1800"/>
              <a:buNone/>
              <a:defRPr/>
            </a:lvl1pPr>
            <a:lvl2pPr lvl="1" algn="ctr" rtl="0">
              <a:spcBef>
                <a:spcPts val="0"/>
              </a:spcBef>
              <a:spcAft>
                <a:spcPts val="0"/>
              </a:spcAft>
              <a:buSzPts val="1800"/>
              <a:buNone/>
              <a:defRPr sz="1800"/>
            </a:lvl2pPr>
            <a:lvl3pPr lvl="2" algn="ctr" rtl="0">
              <a:spcBef>
                <a:spcPts val="0"/>
              </a:spcBef>
              <a:spcAft>
                <a:spcPts val="0"/>
              </a:spcAft>
              <a:buSzPts val="1800"/>
              <a:buNone/>
              <a:defRPr sz="1800"/>
            </a:lvl3pPr>
            <a:lvl4pPr lvl="3" algn="ctr" rtl="0">
              <a:spcBef>
                <a:spcPts val="0"/>
              </a:spcBef>
              <a:spcAft>
                <a:spcPts val="0"/>
              </a:spcAft>
              <a:buSzPts val="1800"/>
              <a:buNone/>
              <a:defRPr sz="1800"/>
            </a:lvl4pPr>
            <a:lvl5pPr lvl="4" algn="ctr" rtl="0">
              <a:spcBef>
                <a:spcPts val="0"/>
              </a:spcBef>
              <a:spcAft>
                <a:spcPts val="0"/>
              </a:spcAft>
              <a:buSzPts val="1800"/>
              <a:buNone/>
              <a:defRPr sz="1800"/>
            </a:lvl5pPr>
            <a:lvl6pPr lvl="5" algn="ctr" rtl="0">
              <a:spcBef>
                <a:spcPts val="0"/>
              </a:spcBef>
              <a:spcAft>
                <a:spcPts val="0"/>
              </a:spcAft>
              <a:buSzPts val="1800"/>
              <a:buNone/>
              <a:defRPr sz="1800"/>
            </a:lvl6pPr>
            <a:lvl7pPr lvl="6" algn="ctr" rtl="0">
              <a:spcBef>
                <a:spcPts val="0"/>
              </a:spcBef>
              <a:spcAft>
                <a:spcPts val="0"/>
              </a:spcAft>
              <a:buSzPts val="1800"/>
              <a:buNone/>
              <a:defRPr sz="1800"/>
            </a:lvl7pPr>
            <a:lvl8pPr lvl="7" algn="ctr" rtl="0">
              <a:spcBef>
                <a:spcPts val="0"/>
              </a:spcBef>
              <a:spcAft>
                <a:spcPts val="0"/>
              </a:spcAft>
              <a:buSzPts val="1800"/>
              <a:buNone/>
              <a:defRPr sz="1800"/>
            </a:lvl8pPr>
            <a:lvl9pPr lvl="8" algn="ctr" rtl="0">
              <a:spcBef>
                <a:spcPts val="0"/>
              </a:spcBef>
              <a:spcAft>
                <a:spcPts val="0"/>
              </a:spcAft>
              <a:buSzPts val="1800"/>
              <a:buNone/>
              <a:defRPr sz="1800"/>
            </a:lvl9pPr>
          </a:lstStyle>
          <a:p>
            <a:endParaRPr/>
          </a:p>
        </p:txBody>
      </p:sp>
      <p:grpSp>
        <p:nvGrpSpPr>
          <p:cNvPr id="615" name="Google Shape;615;p17"/>
          <p:cNvGrpSpPr/>
          <p:nvPr/>
        </p:nvGrpSpPr>
        <p:grpSpPr>
          <a:xfrm>
            <a:off x="216200" y="5189524"/>
            <a:ext cx="563967" cy="578693"/>
            <a:chOff x="400425" y="5421649"/>
            <a:chExt cx="563967" cy="578693"/>
          </a:xfrm>
        </p:grpSpPr>
        <p:sp>
          <p:nvSpPr>
            <p:cNvPr id="616" name="Google Shape;616;p17"/>
            <p:cNvSpPr/>
            <p:nvPr/>
          </p:nvSpPr>
          <p:spPr>
            <a:xfrm>
              <a:off x="457225" y="5479882"/>
              <a:ext cx="402041" cy="412690"/>
            </a:xfrm>
            <a:custGeom>
              <a:avLst/>
              <a:gdLst/>
              <a:ahLst/>
              <a:cxnLst/>
              <a:rect l="l" t="t" r="r" b="b"/>
              <a:pathLst>
                <a:path w="12380" h="12381" extrusionOk="0">
                  <a:moveTo>
                    <a:pt x="12162" y="0"/>
                  </a:moveTo>
                  <a:lnTo>
                    <a:pt x="0" y="12162"/>
                  </a:lnTo>
                  <a:cubicBezTo>
                    <a:pt x="55" y="12236"/>
                    <a:pt x="113" y="12308"/>
                    <a:pt x="169" y="12381"/>
                  </a:cubicBezTo>
                  <a:lnTo>
                    <a:pt x="12379" y="170"/>
                  </a:lnTo>
                  <a:cubicBezTo>
                    <a:pt x="12308" y="111"/>
                    <a:pt x="12235" y="57"/>
                    <a:pt x="1216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617;p17"/>
            <p:cNvSpPr/>
            <p:nvPr/>
          </p:nvSpPr>
          <p:spPr>
            <a:xfrm>
              <a:off x="409356" y="5430716"/>
              <a:ext cx="353425" cy="362758"/>
            </a:xfrm>
            <a:custGeom>
              <a:avLst/>
              <a:gdLst/>
              <a:ahLst/>
              <a:cxnLst/>
              <a:rect l="l" t="t" r="r" b="b"/>
              <a:pathLst>
                <a:path w="10883" h="10883" extrusionOk="0">
                  <a:moveTo>
                    <a:pt x="10579" y="0"/>
                  </a:moveTo>
                  <a:lnTo>
                    <a:pt x="1" y="10579"/>
                  </a:lnTo>
                  <a:cubicBezTo>
                    <a:pt x="26" y="10681"/>
                    <a:pt x="54" y="10782"/>
                    <a:pt x="84" y="10882"/>
                  </a:cubicBezTo>
                  <a:lnTo>
                    <a:pt x="10883" y="84"/>
                  </a:lnTo>
                  <a:cubicBezTo>
                    <a:pt x="10783" y="53"/>
                    <a:pt x="10680" y="26"/>
                    <a:pt x="1057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618;p17"/>
            <p:cNvSpPr/>
            <p:nvPr/>
          </p:nvSpPr>
          <p:spPr>
            <a:xfrm>
              <a:off x="437707" y="5459849"/>
              <a:ext cx="392850" cy="403223"/>
            </a:xfrm>
            <a:custGeom>
              <a:avLst/>
              <a:gdLst/>
              <a:ahLst/>
              <a:cxnLst/>
              <a:rect l="l" t="t" r="r" b="b"/>
              <a:pathLst>
                <a:path w="12097" h="12097" extrusionOk="0">
                  <a:moveTo>
                    <a:pt x="11854" y="0"/>
                  </a:moveTo>
                  <a:lnTo>
                    <a:pt x="0" y="11854"/>
                  </a:lnTo>
                  <a:cubicBezTo>
                    <a:pt x="47" y="11936"/>
                    <a:pt x="94" y="12016"/>
                    <a:pt x="145" y="12097"/>
                  </a:cubicBezTo>
                  <a:lnTo>
                    <a:pt x="12097" y="145"/>
                  </a:lnTo>
                  <a:cubicBezTo>
                    <a:pt x="12016" y="95"/>
                    <a:pt x="11936" y="47"/>
                    <a:pt x="11854"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619;p17"/>
            <p:cNvSpPr/>
            <p:nvPr/>
          </p:nvSpPr>
          <p:spPr>
            <a:xfrm>
              <a:off x="421534" y="5443216"/>
              <a:ext cx="377002" cy="386924"/>
            </a:xfrm>
            <a:custGeom>
              <a:avLst/>
              <a:gdLst/>
              <a:ahLst/>
              <a:cxnLst/>
              <a:rect l="l" t="t" r="r" b="b"/>
              <a:pathLst>
                <a:path w="11609" h="11608" extrusionOk="0">
                  <a:moveTo>
                    <a:pt x="11337" y="0"/>
                  </a:moveTo>
                  <a:lnTo>
                    <a:pt x="1" y="11336"/>
                  </a:lnTo>
                  <a:cubicBezTo>
                    <a:pt x="38" y="11427"/>
                    <a:pt x="76" y="11517"/>
                    <a:pt x="119" y="11608"/>
                  </a:cubicBezTo>
                  <a:lnTo>
                    <a:pt x="11608" y="118"/>
                  </a:lnTo>
                  <a:cubicBezTo>
                    <a:pt x="11519" y="79"/>
                    <a:pt x="11428" y="38"/>
                    <a:pt x="1133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620;p17"/>
            <p:cNvSpPr/>
            <p:nvPr/>
          </p:nvSpPr>
          <p:spPr>
            <a:xfrm>
              <a:off x="401919" y="5423116"/>
              <a:ext cx="320658" cy="329125"/>
            </a:xfrm>
            <a:custGeom>
              <a:avLst/>
              <a:gdLst/>
              <a:ahLst/>
              <a:cxnLst/>
              <a:rect l="l" t="t" r="r" b="b"/>
              <a:pathLst>
                <a:path w="9874" h="9874" extrusionOk="0">
                  <a:moveTo>
                    <a:pt x="9527" y="1"/>
                  </a:moveTo>
                  <a:lnTo>
                    <a:pt x="0" y="9527"/>
                  </a:lnTo>
                  <a:cubicBezTo>
                    <a:pt x="11" y="9644"/>
                    <a:pt x="25" y="9760"/>
                    <a:pt x="41" y="9873"/>
                  </a:cubicBezTo>
                  <a:lnTo>
                    <a:pt x="9873" y="42"/>
                  </a:lnTo>
                  <a:cubicBezTo>
                    <a:pt x="9757" y="25"/>
                    <a:pt x="9643" y="11"/>
                    <a:pt x="9527"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621;p17"/>
            <p:cNvSpPr/>
            <p:nvPr/>
          </p:nvSpPr>
          <p:spPr>
            <a:xfrm>
              <a:off x="479893" y="5503149"/>
              <a:ext cx="404996" cy="415723"/>
            </a:xfrm>
            <a:custGeom>
              <a:avLst/>
              <a:gdLst/>
              <a:ahLst/>
              <a:cxnLst/>
              <a:rect l="l" t="t" r="r" b="b"/>
              <a:pathLst>
                <a:path w="12471" h="12472" extrusionOk="0">
                  <a:moveTo>
                    <a:pt x="12278" y="1"/>
                  </a:moveTo>
                  <a:lnTo>
                    <a:pt x="1" y="12278"/>
                  </a:lnTo>
                  <a:cubicBezTo>
                    <a:pt x="32" y="12310"/>
                    <a:pt x="63" y="12344"/>
                    <a:pt x="95" y="12376"/>
                  </a:cubicBezTo>
                  <a:cubicBezTo>
                    <a:pt x="128" y="12408"/>
                    <a:pt x="160" y="12442"/>
                    <a:pt x="193" y="12472"/>
                  </a:cubicBezTo>
                  <a:lnTo>
                    <a:pt x="12470" y="195"/>
                  </a:lnTo>
                  <a:cubicBezTo>
                    <a:pt x="12440" y="160"/>
                    <a:pt x="12408" y="128"/>
                    <a:pt x="12376" y="96"/>
                  </a:cubicBezTo>
                  <a:cubicBezTo>
                    <a:pt x="12344" y="64"/>
                    <a:pt x="12311" y="31"/>
                    <a:pt x="1227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622;p17"/>
            <p:cNvSpPr/>
            <p:nvPr/>
          </p:nvSpPr>
          <p:spPr>
            <a:xfrm>
              <a:off x="400425" y="5421649"/>
              <a:ext cx="275810" cy="283093"/>
            </a:xfrm>
            <a:custGeom>
              <a:avLst/>
              <a:gdLst/>
              <a:ahLst/>
              <a:cxnLst/>
              <a:rect l="l" t="t" r="r" b="b"/>
              <a:pathLst>
                <a:path w="8493" h="8493" extrusionOk="0">
                  <a:moveTo>
                    <a:pt x="8493" y="1"/>
                  </a:moveTo>
                  <a:lnTo>
                    <a:pt x="8493" y="1"/>
                  </a:lnTo>
                  <a:cubicBezTo>
                    <a:pt x="8358" y="5"/>
                    <a:pt x="8221" y="10"/>
                    <a:pt x="8086" y="20"/>
                  </a:cubicBezTo>
                  <a:lnTo>
                    <a:pt x="19" y="8087"/>
                  </a:lnTo>
                  <a:cubicBezTo>
                    <a:pt x="10" y="8221"/>
                    <a:pt x="4" y="8357"/>
                    <a:pt x="1" y="8492"/>
                  </a:cubicBezTo>
                  <a:lnTo>
                    <a:pt x="8493"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623;p17"/>
            <p:cNvSpPr/>
            <p:nvPr/>
          </p:nvSpPr>
          <p:spPr>
            <a:xfrm>
              <a:off x="407342" y="5428616"/>
              <a:ext cx="213068" cy="218695"/>
            </a:xfrm>
            <a:custGeom>
              <a:avLst/>
              <a:gdLst/>
              <a:ahLst/>
              <a:cxnLst/>
              <a:rect l="l" t="t" r="r" b="b"/>
              <a:pathLst>
                <a:path w="6561" h="6561" extrusionOk="0">
                  <a:moveTo>
                    <a:pt x="6560" y="1"/>
                  </a:moveTo>
                  <a:cubicBezTo>
                    <a:pt x="6386" y="40"/>
                    <a:pt x="6211" y="83"/>
                    <a:pt x="6038" y="135"/>
                  </a:cubicBezTo>
                  <a:lnTo>
                    <a:pt x="134" y="6039"/>
                  </a:lnTo>
                  <a:cubicBezTo>
                    <a:pt x="84" y="6212"/>
                    <a:pt x="38" y="6386"/>
                    <a:pt x="0" y="6561"/>
                  </a:cubicBezTo>
                  <a:lnTo>
                    <a:pt x="6560"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624;p17"/>
            <p:cNvSpPr/>
            <p:nvPr/>
          </p:nvSpPr>
          <p:spPr>
            <a:xfrm>
              <a:off x="688647" y="5717316"/>
              <a:ext cx="275745" cy="283026"/>
            </a:xfrm>
            <a:custGeom>
              <a:avLst/>
              <a:gdLst/>
              <a:ahLst/>
              <a:cxnLst/>
              <a:rect l="l" t="t" r="r" b="b"/>
              <a:pathLst>
                <a:path w="8491" h="8491" extrusionOk="0">
                  <a:moveTo>
                    <a:pt x="8491" y="0"/>
                  </a:moveTo>
                  <a:lnTo>
                    <a:pt x="0" y="8490"/>
                  </a:lnTo>
                  <a:cubicBezTo>
                    <a:pt x="135" y="8486"/>
                    <a:pt x="272" y="8480"/>
                    <a:pt x="407" y="8471"/>
                  </a:cubicBezTo>
                  <a:lnTo>
                    <a:pt x="8471" y="405"/>
                  </a:lnTo>
                  <a:cubicBezTo>
                    <a:pt x="8481" y="272"/>
                    <a:pt x="8486" y="135"/>
                    <a:pt x="849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625;p17"/>
            <p:cNvSpPr/>
            <p:nvPr/>
          </p:nvSpPr>
          <p:spPr>
            <a:xfrm>
              <a:off x="642304" y="5669816"/>
              <a:ext cx="320593" cy="329092"/>
            </a:xfrm>
            <a:custGeom>
              <a:avLst/>
              <a:gdLst/>
              <a:ahLst/>
              <a:cxnLst/>
              <a:rect l="l" t="t" r="r" b="b"/>
              <a:pathLst>
                <a:path w="9872" h="9873" extrusionOk="0">
                  <a:moveTo>
                    <a:pt x="9829" y="0"/>
                  </a:moveTo>
                  <a:lnTo>
                    <a:pt x="1" y="9832"/>
                  </a:lnTo>
                  <a:cubicBezTo>
                    <a:pt x="116" y="9849"/>
                    <a:pt x="230" y="9862"/>
                    <a:pt x="347" y="9873"/>
                  </a:cubicBezTo>
                  <a:lnTo>
                    <a:pt x="9872" y="346"/>
                  </a:lnTo>
                  <a:cubicBezTo>
                    <a:pt x="9860" y="229"/>
                    <a:pt x="9848" y="114"/>
                    <a:pt x="982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626;p17"/>
            <p:cNvSpPr/>
            <p:nvPr/>
          </p:nvSpPr>
          <p:spPr>
            <a:xfrm>
              <a:off x="439428" y="5461582"/>
              <a:ext cx="99796" cy="102397"/>
            </a:xfrm>
            <a:custGeom>
              <a:avLst/>
              <a:gdLst/>
              <a:ahLst/>
              <a:cxnLst/>
              <a:rect l="l" t="t" r="r" b="b"/>
              <a:pathLst>
                <a:path w="3073" h="3072" extrusionOk="0">
                  <a:moveTo>
                    <a:pt x="3072" y="0"/>
                  </a:moveTo>
                  <a:lnTo>
                    <a:pt x="3072" y="0"/>
                  </a:lnTo>
                  <a:cubicBezTo>
                    <a:pt x="2455" y="364"/>
                    <a:pt x="1873" y="812"/>
                    <a:pt x="1342" y="1342"/>
                  </a:cubicBezTo>
                  <a:cubicBezTo>
                    <a:pt x="811" y="1873"/>
                    <a:pt x="365" y="2453"/>
                    <a:pt x="0" y="3072"/>
                  </a:cubicBezTo>
                  <a:lnTo>
                    <a:pt x="3072"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627;p17"/>
            <p:cNvSpPr/>
            <p:nvPr/>
          </p:nvSpPr>
          <p:spPr>
            <a:xfrm>
              <a:off x="744440" y="5774683"/>
              <a:ext cx="213101" cy="218695"/>
            </a:xfrm>
            <a:custGeom>
              <a:avLst/>
              <a:gdLst/>
              <a:ahLst/>
              <a:cxnLst/>
              <a:rect l="l" t="t" r="r" b="b"/>
              <a:pathLst>
                <a:path w="6562" h="6561" extrusionOk="0">
                  <a:moveTo>
                    <a:pt x="6562" y="0"/>
                  </a:moveTo>
                  <a:lnTo>
                    <a:pt x="0" y="6560"/>
                  </a:lnTo>
                  <a:cubicBezTo>
                    <a:pt x="176" y="6521"/>
                    <a:pt x="349" y="6477"/>
                    <a:pt x="522" y="6425"/>
                  </a:cubicBezTo>
                  <a:lnTo>
                    <a:pt x="6426" y="521"/>
                  </a:lnTo>
                  <a:cubicBezTo>
                    <a:pt x="6477" y="349"/>
                    <a:pt x="6522" y="175"/>
                    <a:pt x="656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628;p17"/>
            <p:cNvSpPr/>
            <p:nvPr/>
          </p:nvSpPr>
          <p:spPr>
            <a:xfrm>
              <a:off x="825629" y="5858016"/>
              <a:ext cx="99763" cy="102397"/>
            </a:xfrm>
            <a:custGeom>
              <a:avLst/>
              <a:gdLst/>
              <a:ahLst/>
              <a:cxnLst/>
              <a:rect l="l" t="t" r="r" b="b"/>
              <a:pathLst>
                <a:path w="3072" h="3072" extrusionOk="0">
                  <a:moveTo>
                    <a:pt x="3072" y="0"/>
                  </a:moveTo>
                  <a:lnTo>
                    <a:pt x="0" y="3072"/>
                  </a:lnTo>
                  <a:cubicBezTo>
                    <a:pt x="616" y="2708"/>
                    <a:pt x="1199" y="2260"/>
                    <a:pt x="1730" y="1730"/>
                  </a:cubicBezTo>
                  <a:cubicBezTo>
                    <a:pt x="2262" y="1199"/>
                    <a:pt x="2708" y="618"/>
                    <a:pt x="307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629;p17"/>
            <p:cNvSpPr/>
            <p:nvPr/>
          </p:nvSpPr>
          <p:spPr>
            <a:xfrm>
              <a:off x="534257" y="5558949"/>
              <a:ext cx="392883" cy="403257"/>
            </a:xfrm>
            <a:custGeom>
              <a:avLst/>
              <a:gdLst/>
              <a:ahLst/>
              <a:cxnLst/>
              <a:rect l="l" t="t" r="r" b="b"/>
              <a:pathLst>
                <a:path w="12098" h="12098" extrusionOk="0">
                  <a:moveTo>
                    <a:pt x="11953" y="1"/>
                  </a:moveTo>
                  <a:lnTo>
                    <a:pt x="1" y="11953"/>
                  </a:lnTo>
                  <a:cubicBezTo>
                    <a:pt x="80" y="12001"/>
                    <a:pt x="162" y="12050"/>
                    <a:pt x="243" y="12097"/>
                  </a:cubicBezTo>
                  <a:lnTo>
                    <a:pt x="12097" y="244"/>
                  </a:lnTo>
                  <a:cubicBezTo>
                    <a:pt x="12049" y="162"/>
                    <a:pt x="12001" y="80"/>
                    <a:pt x="11953"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630;p17"/>
            <p:cNvSpPr/>
            <p:nvPr/>
          </p:nvSpPr>
          <p:spPr>
            <a:xfrm>
              <a:off x="505581" y="5529416"/>
              <a:ext cx="401976" cy="412590"/>
            </a:xfrm>
            <a:custGeom>
              <a:avLst/>
              <a:gdLst/>
              <a:ahLst/>
              <a:cxnLst/>
              <a:rect l="l" t="t" r="r" b="b"/>
              <a:pathLst>
                <a:path w="12378" h="12378" extrusionOk="0">
                  <a:moveTo>
                    <a:pt x="12209" y="0"/>
                  </a:moveTo>
                  <a:lnTo>
                    <a:pt x="0" y="12209"/>
                  </a:lnTo>
                  <a:cubicBezTo>
                    <a:pt x="73" y="12268"/>
                    <a:pt x="144" y="12323"/>
                    <a:pt x="219" y="12378"/>
                  </a:cubicBezTo>
                  <a:lnTo>
                    <a:pt x="12378" y="219"/>
                  </a:lnTo>
                  <a:cubicBezTo>
                    <a:pt x="12323" y="144"/>
                    <a:pt x="12265" y="73"/>
                    <a:pt x="12209"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631;p17"/>
            <p:cNvSpPr/>
            <p:nvPr/>
          </p:nvSpPr>
          <p:spPr>
            <a:xfrm>
              <a:off x="602002" y="5628516"/>
              <a:ext cx="353458" cy="362758"/>
            </a:xfrm>
            <a:custGeom>
              <a:avLst/>
              <a:gdLst/>
              <a:ahLst/>
              <a:cxnLst/>
              <a:rect l="l" t="t" r="r" b="b"/>
              <a:pathLst>
                <a:path w="10884" h="10883" extrusionOk="0">
                  <a:moveTo>
                    <a:pt x="10799" y="1"/>
                  </a:moveTo>
                  <a:lnTo>
                    <a:pt x="0" y="10799"/>
                  </a:lnTo>
                  <a:cubicBezTo>
                    <a:pt x="102" y="10830"/>
                    <a:pt x="203" y="10855"/>
                    <a:pt x="304" y="10883"/>
                  </a:cubicBezTo>
                  <a:lnTo>
                    <a:pt x="10884" y="304"/>
                  </a:lnTo>
                  <a:cubicBezTo>
                    <a:pt x="10856" y="201"/>
                    <a:pt x="10831" y="101"/>
                    <a:pt x="1079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632;p17"/>
            <p:cNvSpPr/>
            <p:nvPr/>
          </p:nvSpPr>
          <p:spPr>
            <a:xfrm>
              <a:off x="566311" y="5591782"/>
              <a:ext cx="376937" cy="386890"/>
            </a:xfrm>
            <a:custGeom>
              <a:avLst/>
              <a:gdLst/>
              <a:ahLst/>
              <a:cxnLst/>
              <a:rect l="l" t="t" r="r" b="b"/>
              <a:pathLst>
                <a:path w="11607" h="11607" extrusionOk="0">
                  <a:moveTo>
                    <a:pt x="11490" y="1"/>
                  </a:moveTo>
                  <a:lnTo>
                    <a:pt x="0" y="11490"/>
                  </a:lnTo>
                  <a:cubicBezTo>
                    <a:pt x="88" y="11529"/>
                    <a:pt x="179" y="11569"/>
                    <a:pt x="270" y="11607"/>
                  </a:cubicBezTo>
                  <a:lnTo>
                    <a:pt x="11606" y="271"/>
                  </a:lnTo>
                  <a:cubicBezTo>
                    <a:pt x="11568" y="180"/>
                    <a:pt x="11531" y="92"/>
                    <a:pt x="1149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3" name="Google Shape;633;p17"/>
          <p:cNvGrpSpPr/>
          <p:nvPr/>
        </p:nvGrpSpPr>
        <p:grpSpPr>
          <a:xfrm>
            <a:off x="4046455" y="6390548"/>
            <a:ext cx="1051086" cy="203895"/>
            <a:chOff x="2704450" y="2501175"/>
            <a:chExt cx="809150" cy="152925"/>
          </a:xfrm>
        </p:grpSpPr>
        <p:sp>
          <p:nvSpPr>
            <p:cNvPr id="634" name="Google Shape;634;p17"/>
            <p:cNvSpPr/>
            <p:nvPr/>
          </p:nvSpPr>
          <p:spPr>
            <a:xfrm>
              <a:off x="3493275" y="2501175"/>
              <a:ext cx="20325" cy="20275"/>
            </a:xfrm>
            <a:custGeom>
              <a:avLst/>
              <a:gdLst/>
              <a:ahLst/>
              <a:cxnLst/>
              <a:rect l="l" t="t" r="r" b="b"/>
              <a:pathLst>
                <a:path w="813" h="811" extrusionOk="0">
                  <a:moveTo>
                    <a:pt x="406" y="0"/>
                  </a:moveTo>
                  <a:cubicBezTo>
                    <a:pt x="182" y="0"/>
                    <a:pt x="0" y="181"/>
                    <a:pt x="0" y="405"/>
                  </a:cubicBezTo>
                  <a:cubicBezTo>
                    <a:pt x="0" y="630"/>
                    <a:pt x="182" y="811"/>
                    <a:pt x="406" y="811"/>
                  </a:cubicBezTo>
                  <a:cubicBezTo>
                    <a:pt x="630" y="811"/>
                    <a:pt x="812" y="630"/>
                    <a:pt x="812" y="405"/>
                  </a:cubicBezTo>
                  <a:cubicBezTo>
                    <a:pt x="812" y="181"/>
                    <a:pt x="630" y="0"/>
                    <a:pt x="40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17"/>
            <p:cNvSpPr/>
            <p:nvPr/>
          </p:nvSpPr>
          <p:spPr>
            <a:xfrm>
              <a:off x="3493275" y="2633775"/>
              <a:ext cx="20325" cy="20325"/>
            </a:xfrm>
            <a:custGeom>
              <a:avLst/>
              <a:gdLst/>
              <a:ahLst/>
              <a:cxnLst/>
              <a:rect l="l" t="t" r="r" b="b"/>
              <a:pathLst>
                <a:path w="813" h="813" extrusionOk="0">
                  <a:moveTo>
                    <a:pt x="406" y="1"/>
                  </a:moveTo>
                  <a:cubicBezTo>
                    <a:pt x="182" y="1"/>
                    <a:pt x="0" y="181"/>
                    <a:pt x="0" y="406"/>
                  </a:cubicBezTo>
                  <a:cubicBezTo>
                    <a:pt x="0" y="631"/>
                    <a:pt x="182" y="813"/>
                    <a:pt x="406" y="813"/>
                  </a:cubicBezTo>
                  <a:cubicBezTo>
                    <a:pt x="630" y="813"/>
                    <a:pt x="812" y="631"/>
                    <a:pt x="812" y="406"/>
                  </a:cubicBezTo>
                  <a:cubicBezTo>
                    <a:pt x="812" y="181"/>
                    <a:pt x="630" y="1"/>
                    <a:pt x="406"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636;p17"/>
            <p:cNvSpPr/>
            <p:nvPr/>
          </p:nvSpPr>
          <p:spPr>
            <a:xfrm>
              <a:off x="3361800" y="2501175"/>
              <a:ext cx="20325" cy="20275"/>
            </a:xfrm>
            <a:custGeom>
              <a:avLst/>
              <a:gdLst/>
              <a:ahLst/>
              <a:cxnLst/>
              <a:rect l="l" t="t" r="r" b="b"/>
              <a:pathLst>
                <a:path w="813" h="811" extrusionOk="0">
                  <a:moveTo>
                    <a:pt x="406" y="0"/>
                  </a:moveTo>
                  <a:cubicBezTo>
                    <a:pt x="182" y="0"/>
                    <a:pt x="0" y="181"/>
                    <a:pt x="0" y="405"/>
                  </a:cubicBezTo>
                  <a:cubicBezTo>
                    <a:pt x="0" y="630"/>
                    <a:pt x="182" y="811"/>
                    <a:pt x="406" y="811"/>
                  </a:cubicBezTo>
                  <a:cubicBezTo>
                    <a:pt x="630" y="811"/>
                    <a:pt x="812" y="630"/>
                    <a:pt x="812" y="405"/>
                  </a:cubicBezTo>
                  <a:cubicBezTo>
                    <a:pt x="812" y="181"/>
                    <a:pt x="630" y="0"/>
                    <a:pt x="40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637;p17"/>
            <p:cNvSpPr/>
            <p:nvPr/>
          </p:nvSpPr>
          <p:spPr>
            <a:xfrm>
              <a:off x="3361800" y="2633775"/>
              <a:ext cx="20325" cy="20325"/>
            </a:xfrm>
            <a:custGeom>
              <a:avLst/>
              <a:gdLst/>
              <a:ahLst/>
              <a:cxnLst/>
              <a:rect l="l" t="t" r="r" b="b"/>
              <a:pathLst>
                <a:path w="813" h="813" extrusionOk="0">
                  <a:moveTo>
                    <a:pt x="406" y="1"/>
                  </a:moveTo>
                  <a:cubicBezTo>
                    <a:pt x="182" y="1"/>
                    <a:pt x="0" y="181"/>
                    <a:pt x="0" y="406"/>
                  </a:cubicBezTo>
                  <a:cubicBezTo>
                    <a:pt x="0" y="631"/>
                    <a:pt x="182" y="813"/>
                    <a:pt x="406" y="813"/>
                  </a:cubicBezTo>
                  <a:cubicBezTo>
                    <a:pt x="630" y="813"/>
                    <a:pt x="812" y="631"/>
                    <a:pt x="812" y="406"/>
                  </a:cubicBezTo>
                  <a:cubicBezTo>
                    <a:pt x="812" y="181"/>
                    <a:pt x="630" y="1"/>
                    <a:pt x="406"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17"/>
            <p:cNvSpPr/>
            <p:nvPr/>
          </p:nvSpPr>
          <p:spPr>
            <a:xfrm>
              <a:off x="3230325" y="2501175"/>
              <a:ext cx="20325" cy="20275"/>
            </a:xfrm>
            <a:custGeom>
              <a:avLst/>
              <a:gdLst/>
              <a:ahLst/>
              <a:cxnLst/>
              <a:rect l="l" t="t" r="r" b="b"/>
              <a:pathLst>
                <a:path w="813" h="811" extrusionOk="0">
                  <a:moveTo>
                    <a:pt x="406" y="0"/>
                  </a:moveTo>
                  <a:cubicBezTo>
                    <a:pt x="182" y="0"/>
                    <a:pt x="0" y="181"/>
                    <a:pt x="0" y="405"/>
                  </a:cubicBezTo>
                  <a:cubicBezTo>
                    <a:pt x="0" y="630"/>
                    <a:pt x="182" y="811"/>
                    <a:pt x="406" y="811"/>
                  </a:cubicBezTo>
                  <a:cubicBezTo>
                    <a:pt x="630" y="811"/>
                    <a:pt x="812" y="630"/>
                    <a:pt x="812" y="405"/>
                  </a:cubicBezTo>
                  <a:cubicBezTo>
                    <a:pt x="812" y="181"/>
                    <a:pt x="630" y="0"/>
                    <a:pt x="40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17"/>
            <p:cNvSpPr/>
            <p:nvPr/>
          </p:nvSpPr>
          <p:spPr>
            <a:xfrm>
              <a:off x="3230325" y="2633775"/>
              <a:ext cx="20325" cy="20325"/>
            </a:xfrm>
            <a:custGeom>
              <a:avLst/>
              <a:gdLst/>
              <a:ahLst/>
              <a:cxnLst/>
              <a:rect l="l" t="t" r="r" b="b"/>
              <a:pathLst>
                <a:path w="813" h="813" extrusionOk="0">
                  <a:moveTo>
                    <a:pt x="406" y="1"/>
                  </a:moveTo>
                  <a:cubicBezTo>
                    <a:pt x="182" y="1"/>
                    <a:pt x="0" y="181"/>
                    <a:pt x="0" y="406"/>
                  </a:cubicBezTo>
                  <a:cubicBezTo>
                    <a:pt x="0" y="631"/>
                    <a:pt x="182" y="813"/>
                    <a:pt x="406" y="813"/>
                  </a:cubicBezTo>
                  <a:cubicBezTo>
                    <a:pt x="630" y="813"/>
                    <a:pt x="812" y="631"/>
                    <a:pt x="812" y="406"/>
                  </a:cubicBezTo>
                  <a:cubicBezTo>
                    <a:pt x="812" y="181"/>
                    <a:pt x="630" y="1"/>
                    <a:pt x="406"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17"/>
            <p:cNvSpPr/>
            <p:nvPr/>
          </p:nvSpPr>
          <p:spPr>
            <a:xfrm>
              <a:off x="3098850" y="2501175"/>
              <a:ext cx="20325" cy="20275"/>
            </a:xfrm>
            <a:custGeom>
              <a:avLst/>
              <a:gdLst/>
              <a:ahLst/>
              <a:cxnLst/>
              <a:rect l="l" t="t" r="r" b="b"/>
              <a:pathLst>
                <a:path w="813" h="811" extrusionOk="0">
                  <a:moveTo>
                    <a:pt x="406" y="0"/>
                  </a:moveTo>
                  <a:cubicBezTo>
                    <a:pt x="182" y="0"/>
                    <a:pt x="0" y="181"/>
                    <a:pt x="0" y="405"/>
                  </a:cubicBezTo>
                  <a:cubicBezTo>
                    <a:pt x="0" y="630"/>
                    <a:pt x="182" y="811"/>
                    <a:pt x="406" y="811"/>
                  </a:cubicBezTo>
                  <a:cubicBezTo>
                    <a:pt x="630" y="811"/>
                    <a:pt x="812" y="630"/>
                    <a:pt x="812" y="405"/>
                  </a:cubicBezTo>
                  <a:cubicBezTo>
                    <a:pt x="812" y="181"/>
                    <a:pt x="630" y="0"/>
                    <a:pt x="40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17"/>
            <p:cNvSpPr/>
            <p:nvPr/>
          </p:nvSpPr>
          <p:spPr>
            <a:xfrm>
              <a:off x="3098850" y="2633775"/>
              <a:ext cx="20325" cy="20325"/>
            </a:xfrm>
            <a:custGeom>
              <a:avLst/>
              <a:gdLst/>
              <a:ahLst/>
              <a:cxnLst/>
              <a:rect l="l" t="t" r="r" b="b"/>
              <a:pathLst>
                <a:path w="813" h="813" extrusionOk="0">
                  <a:moveTo>
                    <a:pt x="406" y="1"/>
                  </a:moveTo>
                  <a:cubicBezTo>
                    <a:pt x="182" y="1"/>
                    <a:pt x="0" y="181"/>
                    <a:pt x="0" y="406"/>
                  </a:cubicBezTo>
                  <a:cubicBezTo>
                    <a:pt x="0" y="631"/>
                    <a:pt x="182" y="813"/>
                    <a:pt x="406" y="813"/>
                  </a:cubicBezTo>
                  <a:cubicBezTo>
                    <a:pt x="630" y="813"/>
                    <a:pt x="812" y="631"/>
                    <a:pt x="812" y="406"/>
                  </a:cubicBezTo>
                  <a:cubicBezTo>
                    <a:pt x="812" y="181"/>
                    <a:pt x="630" y="1"/>
                    <a:pt x="406"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642;p17"/>
            <p:cNvSpPr/>
            <p:nvPr/>
          </p:nvSpPr>
          <p:spPr>
            <a:xfrm>
              <a:off x="2967375" y="2501175"/>
              <a:ext cx="20350" cy="20275"/>
            </a:xfrm>
            <a:custGeom>
              <a:avLst/>
              <a:gdLst/>
              <a:ahLst/>
              <a:cxnLst/>
              <a:rect l="l" t="t" r="r" b="b"/>
              <a:pathLst>
                <a:path w="814" h="811" extrusionOk="0">
                  <a:moveTo>
                    <a:pt x="406" y="0"/>
                  </a:moveTo>
                  <a:cubicBezTo>
                    <a:pt x="182" y="0"/>
                    <a:pt x="0" y="182"/>
                    <a:pt x="0" y="405"/>
                  </a:cubicBezTo>
                  <a:cubicBezTo>
                    <a:pt x="0" y="628"/>
                    <a:pt x="182" y="811"/>
                    <a:pt x="406" y="811"/>
                  </a:cubicBezTo>
                  <a:cubicBezTo>
                    <a:pt x="632" y="811"/>
                    <a:pt x="814" y="630"/>
                    <a:pt x="812" y="405"/>
                  </a:cubicBezTo>
                  <a:cubicBezTo>
                    <a:pt x="812" y="182"/>
                    <a:pt x="630" y="0"/>
                    <a:pt x="40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643;p17"/>
            <p:cNvSpPr/>
            <p:nvPr/>
          </p:nvSpPr>
          <p:spPr>
            <a:xfrm>
              <a:off x="2967375" y="2633775"/>
              <a:ext cx="20350" cy="20325"/>
            </a:xfrm>
            <a:custGeom>
              <a:avLst/>
              <a:gdLst/>
              <a:ahLst/>
              <a:cxnLst/>
              <a:rect l="l" t="t" r="r" b="b"/>
              <a:pathLst>
                <a:path w="814" h="813" extrusionOk="0">
                  <a:moveTo>
                    <a:pt x="406" y="1"/>
                  </a:moveTo>
                  <a:cubicBezTo>
                    <a:pt x="182" y="1"/>
                    <a:pt x="0" y="183"/>
                    <a:pt x="0" y="406"/>
                  </a:cubicBezTo>
                  <a:cubicBezTo>
                    <a:pt x="0" y="629"/>
                    <a:pt x="182" y="813"/>
                    <a:pt x="406" y="813"/>
                  </a:cubicBezTo>
                  <a:cubicBezTo>
                    <a:pt x="632" y="813"/>
                    <a:pt x="814" y="629"/>
                    <a:pt x="812" y="406"/>
                  </a:cubicBezTo>
                  <a:cubicBezTo>
                    <a:pt x="812" y="183"/>
                    <a:pt x="630" y="1"/>
                    <a:pt x="406"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17"/>
            <p:cNvSpPr/>
            <p:nvPr/>
          </p:nvSpPr>
          <p:spPr>
            <a:xfrm>
              <a:off x="2835925" y="2501175"/>
              <a:ext cx="20325" cy="20275"/>
            </a:xfrm>
            <a:custGeom>
              <a:avLst/>
              <a:gdLst/>
              <a:ahLst/>
              <a:cxnLst/>
              <a:rect l="l" t="t" r="r" b="b"/>
              <a:pathLst>
                <a:path w="813" h="811" extrusionOk="0">
                  <a:moveTo>
                    <a:pt x="408" y="0"/>
                  </a:moveTo>
                  <a:cubicBezTo>
                    <a:pt x="183" y="0"/>
                    <a:pt x="1" y="181"/>
                    <a:pt x="1" y="405"/>
                  </a:cubicBezTo>
                  <a:cubicBezTo>
                    <a:pt x="1" y="630"/>
                    <a:pt x="183" y="811"/>
                    <a:pt x="408" y="811"/>
                  </a:cubicBezTo>
                  <a:cubicBezTo>
                    <a:pt x="631" y="811"/>
                    <a:pt x="813" y="630"/>
                    <a:pt x="813" y="405"/>
                  </a:cubicBezTo>
                  <a:cubicBezTo>
                    <a:pt x="813" y="181"/>
                    <a:pt x="631" y="0"/>
                    <a:pt x="40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17"/>
            <p:cNvSpPr/>
            <p:nvPr/>
          </p:nvSpPr>
          <p:spPr>
            <a:xfrm>
              <a:off x="2835925" y="2633775"/>
              <a:ext cx="20325" cy="20325"/>
            </a:xfrm>
            <a:custGeom>
              <a:avLst/>
              <a:gdLst/>
              <a:ahLst/>
              <a:cxnLst/>
              <a:rect l="l" t="t" r="r" b="b"/>
              <a:pathLst>
                <a:path w="813" h="813" extrusionOk="0">
                  <a:moveTo>
                    <a:pt x="408" y="1"/>
                  </a:moveTo>
                  <a:cubicBezTo>
                    <a:pt x="183" y="1"/>
                    <a:pt x="1" y="181"/>
                    <a:pt x="1" y="406"/>
                  </a:cubicBezTo>
                  <a:cubicBezTo>
                    <a:pt x="1" y="631"/>
                    <a:pt x="183" y="813"/>
                    <a:pt x="408" y="813"/>
                  </a:cubicBezTo>
                  <a:cubicBezTo>
                    <a:pt x="631" y="813"/>
                    <a:pt x="813" y="631"/>
                    <a:pt x="813" y="406"/>
                  </a:cubicBezTo>
                  <a:cubicBezTo>
                    <a:pt x="813" y="181"/>
                    <a:pt x="631" y="1"/>
                    <a:pt x="408"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646;p17"/>
            <p:cNvSpPr/>
            <p:nvPr/>
          </p:nvSpPr>
          <p:spPr>
            <a:xfrm>
              <a:off x="2704450" y="2501175"/>
              <a:ext cx="20325" cy="20275"/>
            </a:xfrm>
            <a:custGeom>
              <a:avLst/>
              <a:gdLst/>
              <a:ahLst/>
              <a:cxnLst/>
              <a:rect l="l" t="t" r="r" b="b"/>
              <a:pathLst>
                <a:path w="813" h="811" extrusionOk="0">
                  <a:moveTo>
                    <a:pt x="406" y="0"/>
                  </a:moveTo>
                  <a:cubicBezTo>
                    <a:pt x="183" y="0"/>
                    <a:pt x="1" y="182"/>
                    <a:pt x="1" y="405"/>
                  </a:cubicBezTo>
                  <a:cubicBezTo>
                    <a:pt x="1" y="628"/>
                    <a:pt x="183" y="811"/>
                    <a:pt x="406" y="811"/>
                  </a:cubicBezTo>
                  <a:cubicBezTo>
                    <a:pt x="631" y="811"/>
                    <a:pt x="813" y="630"/>
                    <a:pt x="813" y="405"/>
                  </a:cubicBezTo>
                  <a:cubicBezTo>
                    <a:pt x="813" y="182"/>
                    <a:pt x="631" y="0"/>
                    <a:pt x="406"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647;p17"/>
            <p:cNvSpPr/>
            <p:nvPr/>
          </p:nvSpPr>
          <p:spPr>
            <a:xfrm>
              <a:off x="2704450" y="2633775"/>
              <a:ext cx="20325" cy="20325"/>
            </a:xfrm>
            <a:custGeom>
              <a:avLst/>
              <a:gdLst/>
              <a:ahLst/>
              <a:cxnLst/>
              <a:rect l="l" t="t" r="r" b="b"/>
              <a:pathLst>
                <a:path w="813" h="813" extrusionOk="0">
                  <a:moveTo>
                    <a:pt x="406" y="1"/>
                  </a:moveTo>
                  <a:cubicBezTo>
                    <a:pt x="183" y="1"/>
                    <a:pt x="1" y="183"/>
                    <a:pt x="1" y="406"/>
                  </a:cubicBezTo>
                  <a:cubicBezTo>
                    <a:pt x="1" y="629"/>
                    <a:pt x="183" y="813"/>
                    <a:pt x="406" y="813"/>
                  </a:cubicBezTo>
                  <a:cubicBezTo>
                    <a:pt x="631" y="813"/>
                    <a:pt x="813" y="629"/>
                    <a:pt x="813" y="406"/>
                  </a:cubicBezTo>
                  <a:cubicBezTo>
                    <a:pt x="813" y="183"/>
                    <a:pt x="631" y="1"/>
                    <a:pt x="406"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8" name="Google Shape;648;p17"/>
          <p:cNvGrpSpPr/>
          <p:nvPr/>
        </p:nvGrpSpPr>
        <p:grpSpPr>
          <a:xfrm>
            <a:off x="400526" y="5335024"/>
            <a:ext cx="1112204" cy="1141705"/>
            <a:chOff x="2974150" y="1190900"/>
            <a:chExt cx="856200" cy="856300"/>
          </a:xfrm>
        </p:grpSpPr>
        <p:sp>
          <p:nvSpPr>
            <p:cNvPr id="649" name="Google Shape;649;p17"/>
            <p:cNvSpPr/>
            <p:nvPr/>
          </p:nvSpPr>
          <p:spPr>
            <a:xfrm>
              <a:off x="3060325" y="1277100"/>
              <a:ext cx="610550" cy="610550"/>
            </a:xfrm>
            <a:custGeom>
              <a:avLst/>
              <a:gdLst/>
              <a:ahLst/>
              <a:cxnLst/>
              <a:rect l="l" t="t" r="r" b="b"/>
              <a:pathLst>
                <a:path w="24422" h="24422" extrusionOk="0">
                  <a:moveTo>
                    <a:pt x="23992" y="1"/>
                  </a:moveTo>
                  <a:lnTo>
                    <a:pt x="1" y="23992"/>
                  </a:lnTo>
                  <a:cubicBezTo>
                    <a:pt x="110" y="24136"/>
                    <a:pt x="221" y="24280"/>
                    <a:pt x="336" y="24421"/>
                  </a:cubicBezTo>
                  <a:lnTo>
                    <a:pt x="24421" y="336"/>
                  </a:lnTo>
                  <a:cubicBezTo>
                    <a:pt x="24279" y="222"/>
                    <a:pt x="24136" y="110"/>
                    <a:pt x="2399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17"/>
            <p:cNvSpPr/>
            <p:nvPr/>
          </p:nvSpPr>
          <p:spPr>
            <a:xfrm>
              <a:off x="2987625" y="1204375"/>
              <a:ext cx="536750" cy="536725"/>
            </a:xfrm>
            <a:custGeom>
              <a:avLst/>
              <a:gdLst/>
              <a:ahLst/>
              <a:cxnLst/>
              <a:rect l="l" t="t" r="r" b="b"/>
              <a:pathLst>
                <a:path w="21470" h="21469" extrusionOk="0">
                  <a:moveTo>
                    <a:pt x="20870" y="0"/>
                  </a:moveTo>
                  <a:lnTo>
                    <a:pt x="1" y="20869"/>
                  </a:lnTo>
                  <a:cubicBezTo>
                    <a:pt x="51" y="21071"/>
                    <a:pt x="107" y="21270"/>
                    <a:pt x="165" y="21469"/>
                  </a:cubicBezTo>
                  <a:lnTo>
                    <a:pt x="21469" y="166"/>
                  </a:lnTo>
                  <a:cubicBezTo>
                    <a:pt x="21269" y="106"/>
                    <a:pt x="21070" y="52"/>
                    <a:pt x="20870"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17"/>
            <p:cNvSpPr/>
            <p:nvPr/>
          </p:nvSpPr>
          <p:spPr>
            <a:xfrm>
              <a:off x="3030700" y="1247500"/>
              <a:ext cx="596575" cy="596575"/>
            </a:xfrm>
            <a:custGeom>
              <a:avLst/>
              <a:gdLst/>
              <a:ahLst/>
              <a:cxnLst/>
              <a:rect l="l" t="t" r="r" b="b"/>
              <a:pathLst>
                <a:path w="23863" h="23863" extrusionOk="0">
                  <a:moveTo>
                    <a:pt x="23383" y="1"/>
                  </a:moveTo>
                  <a:lnTo>
                    <a:pt x="0" y="23383"/>
                  </a:lnTo>
                  <a:cubicBezTo>
                    <a:pt x="93" y="23544"/>
                    <a:pt x="187" y="23703"/>
                    <a:pt x="284" y="23863"/>
                  </a:cubicBezTo>
                  <a:lnTo>
                    <a:pt x="23863" y="285"/>
                  </a:lnTo>
                  <a:cubicBezTo>
                    <a:pt x="23703" y="186"/>
                    <a:pt x="23544" y="92"/>
                    <a:pt x="23383"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652;p17"/>
            <p:cNvSpPr/>
            <p:nvPr/>
          </p:nvSpPr>
          <p:spPr>
            <a:xfrm>
              <a:off x="3006150" y="1222925"/>
              <a:ext cx="572475" cy="572525"/>
            </a:xfrm>
            <a:custGeom>
              <a:avLst/>
              <a:gdLst/>
              <a:ahLst/>
              <a:cxnLst/>
              <a:rect l="l" t="t" r="r" b="b"/>
              <a:pathLst>
                <a:path w="22899" h="22901" extrusionOk="0">
                  <a:moveTo>
                    <a:pt x="22365" y="0"/>
                  </a:moveTo>
                  <a:lnTo>
                    <a:pt x="0" y="22366"/>
                  </a:lnTo>
                  <a:cubicBezTo>
                    <a:pt x="75" y="22545"/>
                    <a:pt x="151" y="22723"/>
                    <a:pt x="233" y="22900"/>
                  </a:cubicBezTo>
                  <a:lnTo>
                    <a:pt x="22899" y="233"/>
                  </a:lnTo>
                  <a:cubicBezTo>
                    <a:pt x="22721" y="152"/>
                    <a:pt x="22544" y="75"/>
                    <a:pt x="2236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653;p17"/>
            <p:cNvSpPr/>
            <p:nvPr/>
          </p:nvSpPr>
          <p:spPr>
            <a:xfrm>
              <a:off x="2976275" y="1193050"/>
              <a:ext cx="486900" cy="486900"/>
            </a:xfrm>
            <a:custGeom>
              <a:avLst/>
              <a:gdLst/>
              <a:ahLst/>
              <a:cxnLst/>
              <a:rect l="l" t="t" r="r" b="b"/>
              <a:pathLst>
                <a:path w="19476" h="19476" extrusionOk="0">
                  <a:moveTo>
                    <a:pt x="18794" y="1"/>
                  </a:moveTo>
                  <a:lnTo>
                    <a:pt x="1" y="18794"/>
                  </a:lnTo>
                  <a:cubicBezTo>
                    <a:pt x="24" y="19021"/>
                    <a:pt x="53" y="19249"/>
                    <a:pt x="84" y="19475"/>
                  </a:cubicBezTo>
                  <a:lnTo>
                    <a:pt x="19475" y="84"/>
                  </a:lnTo>
                  <a:cubicBezTo>
                    <a:pt x="19249" y="51"/>
                    <a:pt x="19021" y="25"/>
                    <a:pt x="1879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654;p17"/>
            <p:cNvSpPr/>
            <p:nvPr/>
          </p:nvSpPr>
          <p:spPr>
            <a:xfrm>
              <a:off x="3094700" y="1311525"/>
              <a:ext cx="615075" cy="615050"/>
            </a:xfrm>
            <a:custGeom>
              <a:avLst/>
              <a:gdLst/>
              <a:ahLst/>
              <a:cxnLst/>
              <a:rect l="l" t="t" r="r" b="b"/>
              <a:pathLst>
                <a:path w="24603" h="24602" extrusionOk="0">
                  <a:moveTo>
                    <a:pt x="24221" y="0"/>
                  </a:moveTo>
                  <a:lnTo>
                    <a:pt x="1" y="24220"/>
                  </a:lnTo>
                  <a:lnTo>
                    <a:pt x="189" y="24413"/>
                  </a:lnTo>
                  <a:cubicBezTo>
                    <a:pt x="253" y="24478"/>
                    <a:pt x="318" y="24539"/>
                    <a:pt x="382" y="24601"/>
                  </a:cubicBezTo>
                  <a:lnTo>
                    <a:pt x="24602" y="381"/>
                  </a:lnTo>
                  <a:cubicBezTo>
                    <a:pt x="24541" y="318"/>
                    <a:pt x="24479" y="252"/>
                    <a:pt x="24414" y="189"/>
                  </a:cubicBezTo>
                  <a:cubicBezTo>
                    <a:pt x="24350" y="123"/>
                    <a:pt x="24285" y="63"/>
                    <a:pt x="24221"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655;p17"/>
            <p:cNvSpPr/>
            <p:nvPr/>
          </p:nvSpPr>
          <p:spPr>
            <a:xfrm>
              <a:off x="2974150" y="1190900"/>
              <a:ext cx="418775" cy="418800"/>
            </a:xfrm>
            <a:custGeom>
              <a:avLst/>
              <a:gdLst/>
              <a:ahLst/>
              <a:cxnLst/>
              <a:rect l="l" t="t" r="r" b="b"/>
              <a:pathLst>
                <a:path w="16751" h="16752" extrusionOk="0">
                  <a:moveTo>
                    <a:pt x="16751" y="0"/>
                  </a:moveTo>
                  <a:lnTo>
                    <a:pt x="16751" y="0"/>
                  </a:lnTo>
                  <a:cubicBezTo>
                    <a:pt x="16484" y="6"/>
                    <a:pt x="16218" y="19"/>
                    <a:pt x="15950" y="37"/>
                  </a:cubicBezTo>
                  <a:lnTo>
                    <a:pt x="36" y="15950"/>
                  </a:lnTo>
                  <a:cubicBezTo>
                    <a:pt x="18" y="16217"/>
                    <a:pt x="6" y="16483"/>
                    <a:pt x="1" y="16752"/>
                  </a:cubicBezTo>
                  <a:lnTo>
                    <a:pt x="1675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656;p17"/>
            <p:cNvSpPr/>
            <p:nvPr/>
          </p:nvSpPr>
          <p:spPr>
            <a:xfrm>
              <a:off x="2984475" y="1201300"/>
              <a:ext cx="323550" cy="323525"/>
            </a:xfrm>
            <a:custGeom>
              <a:avLst/>
              <a:gdLst/>
              <a:ahLst/>
              <a:cxnLst/>
              <a:rect l="l" t="t" r="r" b="b"/>
              <a:pathLst>
                <a:path w="12942" h="12941" extrusionOk="0">
                  <a:moveTo>
                    <a:pt x="12941" y="0"/>
                  </a:moveTo>
                  <a:lnTo>
                    <a:pt x="12941" y="0"/>
                  </a:lnTo>
                  <a:cubicBezTo>
                    <a:pt x="12597" y="78"/>
                    <a:pt x="12254" y="166"/>
                    <a:pt x="11914" y="266"/>
                  </a:cubicBezTo>
                  <a:lnTo>
                    <a:pt x="265" y="11915"/>
                  </a:lnTo>
                  <a:cubicBezTo>
                    <a:pt x="166" y="12253"/>
                    <a:pt x="78" y="12596"/>
                    <a:pt x="1" y="12941"/>
                  </a:cubicBezTo>
                  <a:lnTo>
                    <a:pt x="12941"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657;p17"/>
            <p:cNvSpPr/>
            <p:nvPr/>
          </p:nvSpPr>
          <p:spPr>
            <a:xfrm>
              <a:off x="3411650" y="1628375"/>
              <a:ext cx="418700" cy="418825"/>
            </a:xfrm>
            <a:custGeom>
              <a:avLst/>
              <a:gdLst/>
              <a:ahLst/>
              <a:cxnLst/>
              <a:rect l="l" t="t" r="r" b="b"/>
              <a:pathLst>
                <a:path w="16748" h="16753" extrusionOk="0">
                  <a:moveTo>
                    <a:pt x="16748" y="1"/>
                  </a:moveTo>
                  <a:lnTo>
                    <a:pt x="1" y="16752"/>
                  </a:lnTo>
                  <a:cubicBezTo>
                    <a:pt x="268" y="16746"/>
                    <a:pt x="533" y="16734"/>
                    <a:pt x="801" y="16716"/>
                  </a:cubicBezTo>
                  <a:lnTo>
                    <a:pt x="16713" y="802"/>
                  </a:lnTo>
                  <a:cubicBezTo>
                    <a:pt x="16731" y="535"/>
                    <a:pt x="16743" y="270"/>
                    <a:pt x="16748"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658;p17"/>
            <p:cNvSpPr/>
            <p:nvPr/>
          </p:nvSpPr>
          <p:spPr>
            <a:xfrm>
              <a:off x="3341350" y="1558150"/>
              <a:ext cx="486875" cy="486875"/>
            </a:xfrm>
            <a:custGeom>
              <a:avLst/>
              <a:gdLst/>
              <a:ahLst/>
              <a:cxnLst/>
              <a:rect l="l" t="t" r="r" b="b"/>
              <a:pathLst>
                <a:path w="19475" h="19475" extrusionOk="0">
                  <a:moveTo>
                    <a:pt x="19391" y="1"/>
                  </a:moveTo>
                  <a:lnTo>
                    <a:pt x="0" y="19391"/>
                  </a:lnTo>
                  <a:cubicBezTo>
                    <a:pt x="226" y="19425"/>
                    <a:pt x="454" y="19451"/>
                    <a:pt x="682" y="19475"/>
                  </a:cubicBezTo>
                  <a:lnTo>
                    <a:pt x="19475" y="682"/>
                  </a:lnTo>
                  <a:cubicBezTo>
                    <a:pt x="19452" y="454"/>
                    <a:pt x="19424" y="227"/>
                    <a:pt x="1939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659;p17"/>
            <p:cNvSpPr/>
            <p:nvPr/>
          </p:nvSpPr>
          <p:spPr>
            <a:xfrm>
              <a:off x="3033250" y="1250050"/>
              <a:ext cx="151525" cy="151500"/>
            </a:xfrm>
            <a:custGeom>
              <a:avLst/>
              <a:gdLst/>
              <a:ahLst/>
              <a:cxnLst/>
              <a:rect l="l" t="t" r="r" b="b"/>
              <a:pathLst>
                <a:path w="6061" h="6060" extrusionOk="0">
                  <a:moveTo>
                    <a:pt x="6061" y="1"/>
                  </a:moveTo>
                  <a:lnTo>
                    <a:pt x="6061" y="1"/>
                  </a:lnTo>
                  <a:cubicBezTo>
                    <a:pt x="4842" y="720"/>
                    <a:pt x="3694" y="1602"/>
                    <a:pt x="2649" y="2649"/>
                  </a:cubicBezTo>
                  <a:cubicBezTo>
                    <a:pt x="1603" y="3695"/>
                    <a:pt x="720" y="4844"/>
                    <a:pt x="0" y="6059"/>
                  </a:cubicBezTo>
                  <a:lnTo>
                    <a:pt x="6061"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17"/>
            <p:cNvSpPr/>
            <p:nvPr/>
          </p:nvSpPr>
          <p:spPr>
            <a:xfrm>
              <a:off x="3496525" y="1713300"/>
              <a:ext cx="323550" cy="323525"/>
            </a:xfrm>
            <a:custGeom>
              <a:avLst/>
              <a:gdLst/>
              <a:ahLst/>
              <a:cxnLst/>
              <a:rect l="l" t="t" r="r" b="b"/>
              <a:pathLst>
                <a:path w="12942" h="12941" extrusionOk="0">
                  <a:moveTo>
                    <a:pt x="12941" y="1"/>
                  </a:moveTo>
                  <a:lnTo>
                    <a:pt x="1" y="12941"/>
                  </a:lnTo>
                  <a:cubicBezTo>
                    <a:pt x="347" y="12864"/>
                    <a:pt x="690" y="12776"/>
                    <a:pt x="1030" y="12675"/>
                  </a:cubicBezTo>
                  <a:lnTo>
                    <a:pt x="12676" y="1028"/>
                  </a:lnTo>
                  <a:cubicBezTo>
                    <a:pt x="12774" y="687"/>
                    <a:pt x="12864" y="345"/>
                    <a:pt x="1294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17"/>
            <p:cNvSpPr/>
            <p:nvPr/>
          </p:nvSpPr>
          <p:spPr>
            <a:xfrm>
              <a:off x="3619775" y="1836575"/>
              <a:ext cx="151500" cy="151500"/>
            </a:xfrm>
            <a:custGeom>
              <a:avLst/>
              <a:gdLst/>
              <a:ahLst/>
              <a:cxnLst/>
              <a:rect l="l" t="t" r="r" b="b"/>
              <a:pathLst>
                <a:path w="6060" h="6060" extrusionOk="0">
                  <a:moveTo>
                    <a:pt x="6059" y="1"/>
                  </a:moveTo>
                  <a:lnTo>
                    <a:pt x="1" y="6060"/>
                  </a:lnTo>
                  <a:cubicBezTo>
                    <a:pt x="1218" y="5340"/>
                    <a:pt x="2365" y="4458"/>
                    <a:pt x="3411" y="3411"/>
                  </a:cubicBezTo>
                  <a:cubicBezTo>
                    <a:pt x="4457" y="2365"/>
                    <a:pt x="5340" y="1217"/>
                    <a:pt x="605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17"/>
            <p:cNvSpPr/>
            <p:nvPr/>
          </p:nvSpPr>
          <p:spPr>
            <a:xfrm>
              <a:off x="3177225" y="1394050"/>
              <a:ext cx="596625" cy="596600"/>
            </a:xfrm>
            <a:custGeom>
              <a:avLst/>
              <a:gdLst/>
              <a:ahLst/>
              <a:cxnLst/>
              <a:rect l="l" t="t" r="r" b="b"/>
              <a:pathLst>
                <a:path w="23865" h="23864" extrusionOk="0">
                  <a:moveTo>
                    <a:pt x="23579" y="0"/>
                  </a:moveTo>
                  <a:lnTo>
                    <a:pt x="1" y="23579"/>
                  </a:lnTo>
                  <a:cubicBezTo>
                    <a:pt x="160" y="23677"/>
                    <a:pt x="320" y="23771"/>
                    <a:pt x="481" y="23864"/>
                  </a:cubicBezTo>
                  <a:lnTo>
                    <a:pt x="23865" y="480"/>
                  </a:lnTo>
                  <a:cubicBezTo>
                    <a:pt x="23770" y="319"/>
                    <a:pt x="23676" y="160"/>
                    <a:pt x="2357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663;p17"/>
            <p:cNvSpPr/>
            <p:nvPr/>
          </p:nvSpPr>
          <p:spPr>
            <a:xfrm>
              <a:off x="3133650" y="1350450"/>
              <a:ext cx="610525" cy="610500"/>
            </a:xfrm>
            <a:custGeom>
              <a:avLst/>
              <a:gdLst/>
              <a:ahLst/>
              <a:cxnLst/>
              <a:rect l="l" t="t" r="r" b="b"/>
              <a:pathLst>
                <a:path w="24421" h="24420" extrusionOk="0">
                  <a:moveTo>
                    <a:pt x="24087" y="1"/>
                  </a:moveTo>
                  <a:lnTo>
                    <a:pt x="0" y="24086"/>
                  </a:lnTo>
                  <a:cubicBezTo>
                    <a:pt x="143" y="24199"/>
                    <a:pt x="285" y="24312"/>
                    <a:pt x="430" y="24419"/>
                  </a:cubicBezTo>
                  <a:lnTo>
                    <a:pt x="24421" y="430"/>
                  </a:lnTo>
                  <a:cubicBezTo>
                    <a:pt x="24311" y="286"/>
                    <a:pt x="24201" y="142"/>
                    <a:pt x="24087"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664;p17"/>
            <p:cNvSpPr/>
            <p:nvPr/>
          </p:nvSpPr>
          <p:spPr>
            <a:xfrm>
              <a:off x="3280175" y="1497000"/>
              <a:ext cx="536775" cy="536775"/>
            </a:xfrm>
            <a:custGeom>
              <a:avLst/>
              <a:gdLst/>
              <a:ahLst/>
              <a:cxnLst/>
              <a:rect l="l" t="t" r="r" b="b"/>
              <a:pathLst>
                <a:path w="21471" h="21471" extrusionOk="0">
                  <a:moveTo>
                    <a:pt x="21305" y="0"/>
                  </a:moveTo>
                  <a:lnTo>
                    <a:pt x="1" y="21305"/>
                  </a:lnTo>
                  <a:cubicBezTo>
                    <a:pt x="199" y="21364"/>
                    <a:pt x="398" y="21418"/>
                    <a:pt x="600" y="21470"/>
                  </a:cubicBezTo>
                  <a:lnTo>
                    <a:pt x="21471" y="600"/>
                  </a:lnTo>
                  <a:cubicBezTo>
                    <a:pt x="21419" y="398"/>
                    <a:pt x="21365" y="199"/>
                    <a:pt x="2130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17"/>
            <p:cNvSpPr/>
            <p:nvPr/>
          </p:nvSpPr>
          <p:spPr>
            <a:xfrm>
              <a:off x="3225925" y="1442725"/>
              <a:ext cx="572450" cy="572450"/>
            </a:xfrm>
            <a:custGeom>
              <a:avLst/>
              <a:gdLst/>
              <a:ahLst/>
              <a:cxnLst/>
              <a:rect l="l" t="t" r="r" b="b"/>
              <a:pathLst>
                <a:path w="22898" h="22898" extrusionOk="0">
                  <a:moveTo>
                    <a:pt x="22665" y="1"/>
                  </a:moveTo>
                  <a:lnTo>
                    <a:pt x="0" y="22665"/>
                  </a:lnTo>
                  <a:cubicBezTo>
                    <a:pt x="176" y="22746"/>
                    <a:pt x="354" y="22823"/>
                    <a:pt x="533" y="22897"/>
                  </a:cubicBezTo>
                  <a:lnTo>
                    <a:pt x="22897" y="533"/>
                  </a:lnTo>
                  <a:cubicBezTo>
                    <a:pt x="22823" y="354"/>
                    <a:pt x="22747" y="177"/>
                    <a:pt x="2266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6" name="Google Shape;666;p17"/>
          <p:cNvGrpSpPr/>
          <p:nvPr/>
        </p:nvGrpSpPr>
        <p:grpSpPr>
          <a:xfrm>
            <a:off x="8668705" y="295004"/>
            <a:ext cx="231644" cy="989428"/>
            <a:chOff x="1025030" y="3217579"/>
            <a:chExt cx="231644" cy="989428"/>
          </a:xfrm>
        </p:grpSpPr>
        <p:sp>
          <p:nvSpPr>
            <p:cNvPr id="667" name="Google Shape;667;p17"/>
            <p:cNvSpPr/>
            <p:nvPr/>
          </p:nvSpPr>
          <p:spPr>
            <a:xfrm>
              <a:off x="1025030" y="3217579"/>
              <a:ext cx="231644" cy="251327"/>
            </a:xfrm>
            <a:custGeom>
              <a:avLst/>
              <a:gdLst/>
              <a:ahLst/>
              <a:cxnLst/>
              <a:rect l="l" t="t" r="r" b="b"/>
              <a:pathLst>
                <a:path w="7133" h="7540" extrusionOk="0">
                  <a:moveTo>
                    <a:pt x="7133" y="0"/>
                  </a:moveTo>
                  <a:lnTo>
                    <a:pt x="1" y="7132"/>
                  </a:lnTo>
                  <a:lnTo>
                    <a:pt x="1" y="7539"/>
                  </a:lnTo>
                  <a:lnTo>
                    <a:pt x="7133" y="409"/>
                  </a:lnTo>
                  <a:lnTo>
                    <a:pt x="713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17"/>
            <p:cNvSpPr/>
            <p:nvPr/>
          </p:nvSpPr>
          <p:spPr>
            <a:xfrm>
              <a:off x="1025030" y="3340579"/>
              <a:ext cx="231644" cy="251360"/>
            </a:xfrm>
            <a:custGeom>
              <a:avLst/>
              <a:gdLst/>
              <a:ahLst/>
              <a:cxnLst/>
              <a:rect l="l" t="t" r="r" b="b"/>
              <a:pathLst>
                <a:path w="7133" h="7541" extrusionOk="0">
                  <a:moveTo>
                    <a:pt x="7133" y="0"/>
                  </a:moveTo>
                  <a:lnTo>
                    <a:pt x="1" y="7132"/>
                  </a:lnTo>
                  <a:lnTo>
                    <a:pt x="1" y="7540"/>
                  </a:lnTo>
                  <a:lnTo>
                    <a:pt x="7133" y="408"/>
                  </a:lnTo>
                  <a:lnTo>
                    <a:pt x="713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669;p17"/>
            <p:cNvSpPr/>
            <p:nvPr/>
          </p:nvSpPr>
          <p:spPr>
            <a:xfrm>
              <a:off x="1025030" y="3463646"/>
              <a:ext cx="231644" cy="251260"/>
            </a:xfrm>
            <a:custGeom>
              <a:avLst/>
              <a:gdLst/>
              <a:ahLst/>
              <a:cxnLst/>
              <a:rect l="l" t="t" r="r" b="b"/>
              <a:pathLst>
                <a:path w="7133" h="7538" extrusionOk="0">
                  <a:moveTo>
                    <a:pt x="7133" y="1"/>
                  </a:moveTo>
                  <a:lnTo>
                    <a:pt x="1" y="7131"/>
                  </a:lnTo>
                  <a:lnTo>
                    <a:pt x="1" y="7538"/>
                  </a:lnTo>
                  <a:lnTo>
                    <a:pt x="7133" y="406"/>
                  </a:lnTo>
                  <a:lnTo>
                    <a:pt x="7133"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670;p17"/>
            <p:cNvSpPr/>
            <p:nvPr/>
          </p:nvSpPr>
          <p:spPr>
            <a:xfrm>
              <a:off x="1025030" y="3586646"/>
              <a:ext cx="231644" cy="251327"/>
            </a:xfrm>
            <a:custGeom>
              <a:avLst/>
              <a:gdLst/>
              <a:ahLst/>
              <a:cxnLst/>
              <a:rect l="l" t="t" r="r" b="b"/>
              <a:pathLst>
                <a:path w="7133" h="7540" extrusionOk="0">
                  <a:moveTo>
                    <a:pt x="7133" y="0"/>
                  </a:moveTo>
                  <a:lnTo>
                    <a:pt x="1" y="7132"/>
                  </a:lnTo>
                  <a:lnTo>
                    <a:pt x="1" y="7539"/>
                  </a:lnTo>
                  <a:lnTo>
                    <a:pt x="7133" y="409"/>
                  </a:lnTo>
                  <a:lnTo>
                    <a:pt x="713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17"/>
            <p:cNvSpPr/>
            <p:nvPr/>
          </p:nvSpPr>
          <p:spPr>
            <a:xfrm>
              <a:off x="1025030" y="3709646"/>
              <a:ext cx="231644" cy="251360"/>
            </a:xfrm>
            <a:custGeom>
              <a:avLst/>
              <a:gdLst/>
              <a:ahLst/>
              <a:cxnLst/>
              <a:rect l="l" t="t" r="r" b="b"/>
              <a:pathLst>
                <a:path w="7133" h="7541" extrusionOk="0">
                  <a:moveTo>
                    <a:pt x="7133" y="0"/>
                  </a:moveTo>
                  <a:lnTo>
                    <a:pt x="1" y="7132"/>
                  </a:lnTo>
                  <a:lnTo>
                    <a:pt x="1" y="7540"/>
                  </a:lnTo>
                  <a:lnTo>
                    <a:pt x="7133" y="408"/>
                  </a:lnTo>
                  <a:lnTo>
                    <a:pt x="713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672;p17"/>
            <p:cNvSpPr/>
            <p:nvPr/>
          </p:nvSpPr>
          <p:spPr>
            <a:xfrm>
              <a:off x="1025030" y="3832713"/>
              <a:ext cx="231644" cy="251327"/>
            </a:xfrm>
            <a:custGeom>
              <a:avLst/>
              <a:gdLst/>
              <a:ahLst/>
              <a:cxnLst/>
              <a:rect l="l" t="t" r="r" b="b"/>
              <a:pathLst>
                <a:path w="7133" h="7540" extrusionOk="0">
                  <a:moveTo>
                    <a:pt x="7133" y="1"/>
                  </a:moveTo>
                  <a:lnTo>
                    <a:pt x="1" y="7131"/>
                  </a:lnTo>
                  <a:lnTo>
                    <a:pt x="1" y="7539"/>
                  </a:lnTo>
                  <a:lnTo>
                    <a:pt x="7133" y="406"/>
                  </a:lnTo>
                  <a:lnTo>
                    <a:pt x="7133"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673;p17"/>
            <p:cNvSpPr/>
            <p:nvPr/>
          </p:nvSpPr>
          <p:spPr>
            <a:xfrm>
              <a:off x="1025030" y="3955713"/>
              <a:ext cx="231644" cy="251294"/>
            </a:xfrm>
            <a:custGeom>
              <a:avLst/>
              <a:gdLst/>
              <a:ahLst/>
              <a:cxnLst/>
              <a:rect l="l" t="t" r="r" b="b"/>
              <a:pathLst>
                <a:path w="7133" h="7539" extrusionOk="0">
                  <a:moveTo>
                    <a:pt x="7133" y="0"/>
                  </a:moveTo>
                  <a:lnTo>
                    <a:pt x="1" y="7132"/>
                  </a:lnTo>
                  <a:lnTo>
                    <a:pt x="1" y="7539"/>
                  </a:lnTo>
                  <a:lnTo>
                    <a:pt x="7133" y="409"/>
                  </a:lnTo>
                  <a:lnTo>
                    <a:pt x="7133"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4" name="Google Shape;674;p17"/>
          <p:cNvSpPr/>
          <p:nvPr/>
        </p:nvSpPr>
        <p:spPr>
          <a:xfrm rot="-3600044">
            <a:off x="8383063" y="3315258"/>
            <a:ext cx="1237844" cy="1044446"/>
          </a:xfrm>
          <a:custGeom>
            <a:avLst/>
            <a:gdLst/>
            <a:ahLst/>
            <a:cxnLst/>
            <a:rect l="l" t="t" r="r" b="b"/>
            <a:pathLst>
              <a:path w="38116" h="31333" extrusionOk="0">
                <a:moveTo>
                  <a:pt x="22919" y="697"/>
                </a:moveTo>
                <a:lnTo>
                  <a:pt x="37510" y="24038"/>
                </a:lnTo>
                <a:lnTo>
                  <a:pt x="21410" y="16922"/>
                </a:lnTo>
                <a:lnTo>
                  <a:pt x="22919" y="697"/>
                </a:lnTo>
                <a:close/>
                <a:moveTo>
                  <a:pt x="22623" y="767"/>
                </a:moveTo>
                <a:lnTo>
                  <a:pt x="21120" y="16931"/>
                </a:lnTo>
                <a:lnTo>
                  <a:pt x="910" y="30556"/>
                </a:lnTo>
                <a:lnTo>
                  <a:pt x="22623" y="767"/>
                </a:lnTo>
                <a:close/>
                <a:moveTo>
                  <a:pt x="21272" y="17177"/>
                </a:moveTo>
                <a:lnTo>
                  <a:pt x="37392" y="24303"/>
                </a:lnTo>
                <a:lnTo>
                  <a:pt x="958" y="30868"/>
                </a:lnTo>
                <a:lnTo>
                  <a:pt x="21272" y="17177"/>
                </a:lnTo>
                <a:close/>
                <a:moveTo>
                  <a:pt x="22825" y="0"/>
                </a:moveTo>
                <a:lnTo>
                  <a:pt x="1" y="31333"/>
                </a:lnTo>
                <a:lnTo>
                  <a:pt x="38116" y="24463"/>
                </a:lnTo>
                <a:lnTo>
                  <a:pt x="2282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75" name="Google Shape;675;p17"/>
          <p:cNvGrpSpPr/>
          <p:nvPr/>
        </p:nvGrpSpPr>
        <p:grpSpPr>
          <a:xfrm>
            <a:off x="8744624" y="1798074"/>
            <a:ext cx="79791" cy="1181804"/>
            <a:chOff x="1195275" y="2211125"/>
            <a:chExt cx="61425" cy="886375"/>
          </a:xfrm>
        </p:grpSpPr>
        <p:sp>
          <p:nvSpPr>
            <p:cNvPr id="676" name="Google Shape;676;p17"/>
            <p:cNvSpPr/>
            <p:nvPr/>
          </p:nvSpPr>
          <p:spPr>
            <a:xfrm>
              <a:off x="1195275" y="2799225"/>
              <a:ext cx="61425" cy="48325"/>
            </a:xfrm>
            <a:custGeom>
              <a:avLst/>
              <a:gdLst/>
              <a:ahLst/>
              <a:cxnLst/>
              <a:rect l="l" t="t" r="r" b="b"/>
              <a:pathLst>
                <a:path w="2457" h="1933" extrusionOk="0">
                  <a:moveTo>
                    <a:pt x="1229" y="0"/>
                  </a:moveTo>
                  <a:lnTo>
                    <a:pt x="1" y="1932"/>
                  </a:lnTo>
                  <a:lnTo>
                    <a:pt x="2457" y="1932"/>
                  </a:lnTo>
                  <a:lnTo>
                    <a:pt x="1229"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677;p17"/>
            <p:cNvSpPr/>
            <p:nvPr/>
          </p:nvSpPr>
          <p:spPr>
            <a:xfrm>
              <a:off x="1195275" y="3049150"/>
              <a:ext cx="61425" cy="48350"/>
            </a:xfrm>
            <a:custGeom>
              <a:avLst/>
              <a:gdLst/>
              <a:ahLst/>
              <a:cxnLst/>
              <a:rect l="l" t="t" r="r" b="b"/>
              <a:pathLst>
                <a:path w="2457" h="1934" extrusionOk="0">
                  <a:moveTo>
                    <a:pt x="1229" y="0"/>
                  </a:moveTo>
                  <a:lnTo>
                    <a:pt x="1" y="1934"/>
                  </a:lnTo>
                  <a:lnTo>
                    <a:pt x="2457" y="1934"/>
                  </a:lnTo>
                  <a:lnTo>
                    <a:pt x="1229"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678;p17"/>
            <p:cNvSpPr/>
            <p:nvPr/>
          </p:nvSpPr>
          <p:spPr>
            <a:xfrm>
              <a:off x="1195275" y="2211125"/>
              <a:ext cx="61425" cy="48375"/>
            </a:xfrm>
            <a:custGeom>
              <a:avLst/>
              <a:gdLst/>
              <a:ahLst/>
              <a:cxnLst/>
              <a:rect l="l" t="t" r="r" b="b"/>
              <a:pathLst>
                <a:path w="2457" h="1935" extrusionOk="0">
                  <a:moveTo>
                    <a:pt x="1229" y="0"/>
                  </a:moveTo>
                  <a:lnTo>
                    <a:pt x="1" y="1934"/>
                  </a:lnTo>
                  <a:lnTo>
                    <a:pt x="2457" y="1934"/>
                  </a:lnTo>
                  <a:lnTo>
                    <a:pt x="1229"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679;p17"/>
            <p:cNvSpPr/>
            <p:nvPr/>
          </p:nvSpPr>
          <p:spPr>
            <a:xfrm>
              <a:off x="1195275" y="2461050"/>
              <a:ext cx="61425" cy="48375"/>
            </a:xfrm>
            <a:custGeom>
              <a:avLst/>
              <a:gdLst/>
              <a:ahLst/>
              <a:cxnLst/>
              <a:rect l="l" t="t" r="r" b="b"/>
              <a:pathLst>
                <a:path w="2457" h="1935" extrusionOk="0">
                  <a:moveTo>
                    <a:pt x="1229" y="1"/>
                  </a:moveTo>
                  <a:lnTo>
                    <a:pt x="1" y="1934"/>
                  </a:lnTo>
                  <a:lnTo>
                    <a:pt x="2457" y="1934"/>
                  </a:lnTo>
                  <a:lnTo>
                    <a:pt x="12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680;p17"/>
            <p:cNvSpPr/>
            <p:nvPr/>
          </p:nvSpPr>
          <p:spPr>
            <a:xfrm>
              <a:off x="1195275" y="2566950"/>
              <a:ext cx="61425" cy="48425"/>
            </a:xfrm>
            <a:custGeom>
              <a:avLst/>
              <a:gdLst/>
              <a:ahLst/>
              <a:cxnLst/>
              <a:rect l="l" t="t" r="r" b="b"/>
              <a:pathLst>
                <a:path w="2457" h="1937" extrusionOk="0">
                  <a:moveTo>
                    <a:pt x="1229" y="1"/>
                  </a:moveTo>
                  <a:lnTo>
                    <a:pt x="1" y="1936"/>
                  </a:lnTo>
                  <a:lnTo>
                    <a:pt x="2457" y="1936"/>
                  </a:lnTo>
                  <a:lnTo>
                    <a:pt x="12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681" name="Google Shape;681;p17"/>
          <p:cNvCxnSpPr/>
          <p:nvPr/>
        </p:nvCxnSpPr>
        <p:spPr>
          <a:xfrm>
            <a:off x="810959" y="719996"/>
            <a:ext cx="0" cy="462300"/>
          </a:xfrm>
          <a:prstGeom prst="straightConnector1">
            <a:avLst/>
          </a:prstGeom>
          <a:noFill/>
          <a:ln w="9525" cap="flat" cmpd="sng">
            <a:solidFill>
              <a:schemeClr val="dk2"/>
            </a:solidFill>
            <a:prstDash val="solid"/>
            <a:round/>
            <a:headEnd type="none" w="med" len="med"/>
            <a:tailEnd type="none" w="med" len="med"/>
          </a:ln>
        </p:spPr>
      </p:cxnSp>
      <p:sp>
        <p:nvSpPr>
          <p:cNvPr id="682" name="Google Shape;682;p17"/>
          <p:cNvSpPr txBox="1">
            <a:spLocks noGrp="1"/>
          </p:cNvSpPr>
          <p:nvPr>
            <p:ph type="subTitle" idx="7"/>
          </p:nvPr>
        </p:nvSpPr>
        <p:spPr>
          <a:xfrm>
            <a:off x="5539750" y="720000"/>
            <a:ext cx="1106700" cy="462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latin typeface="Nunito"/>
                <a:ea typeface="Nunito"/>
                <a:cs typeface="Nunito"/>
                <a:sym typeface="Nunito"/>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text">
  <p:cSld name="ONE_COLUMN_TEXT_1">
    <p:spTree>
      <p:nvGrpSpPr>
        <p:cNvPr id="1" name="Shape 917"/>
        <p:cNvGrpSpPr/>
        <p:nvPr/>
      </p:nvGrpSpPr>
      <p:grpSpPr>
        <a:xfrm>
          <a:off x="0" y="0"/>
          <a:ext cx="0" cy="0"/>
          <a:chOff x="0" y="0"/>
          <a:chExt cx="0" cy="0"/>
        </a:xfrm>
      </p:grpSpPr>
      <p:sp>
        <p:nvSpPr>
          <p:cNvPr id="918" name="Google Shape;918;p22"/>
          <p:cNvSpPr txBox="1">
            <a:spLocks noGrp="1"/>
          </p:cNvSpPr>
          <p:nvPr>
            <p:ph type="title"/>
          </p:nvPr>
        </p:nvSpPr>
        <p:spPr>
          <a:xfrm>
            <a:off x="720000" y="1507767"/>
            <a:ext cx="7704000" cy="7524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19" name="Google Shape;919;p22"/>
          <p:cNvSpPr txBox="1">
            <a:spLocks noGrp="1"/>
          </p:cNvSpPr>
          <p:nvPr>
            <p:ph type="subTitle" idx="1"/>
          </p:nvPr>
        </p:nvSpPr>
        <p:spPr>
          <a:xfrm>
            <a:off x="720000" y="3289200"/>
            <a:ext cx="2734500" cy="1964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a:lvl1pPr>
            <a:lvl2pPr lvl="1" algn="ctr" rtl="0">
              <a:lnSpc>
                <a:spcPct val="100000"/>
              </a:lnSpc>
              <a:spcBef>
                <a:spcPts val="160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920" name="Google Shape;920;p22"/>
          <p:cNvSpPr/>
          <p:nvPr/>
        </p:nvSpPr>
        <p:spPr>
          <a:xfrm flipH="1">
            <a:off x="5817175" y="-48300"/>
            <a:ext cx="3345000" cy="6968400"/>
          </a:xfrm>
          <a:prstGeom prst="rtTriangle">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21" name="Google Shape;921;p22"/>
          <p:cNvGrpSpPr/>
          <p:nvPr/>
        </p:nvGrpSpPr>
        <p:grpSpPr>
          <a:xfrm>
            <a:off x="339199" y="4879740"/>
            <a:ext cx="34475" cy="1258315"/>
            <a:chOff x="675575" y="2927725"/>
            <a:chExt cx="20350" cy="809050"/>
          </a:xfrm>
        </p:grpSpPr>
        <p:sp>
          <p:nvSpPr>
            <p:cNvPr id="922" name="Google Shape;922;p22"/>
            <p:cNvSpPr/>
            <p:nvPr/>
          </p:nvSpPr>
          <p:spPr>
            <a:xfrm>
              <a:off x="675600" y="3716450"/>
              <a:ext cx="20325" cy="20325"/>
            </a:xfrm>
            <a:custGeom>
              <a:avLst/>
              <a:gdLst/>
              <a:ahLst/>
              <a:cxnLst/>
              <a:rect l="l" t="t" r="r" b="b"/>
              <a:pathLst>
                <a:path w="813" h="813" extrusionOk="0">
                  <a:moveTo>
                    <a:pt x="406" y="1"/>
                  </a:moveTo>
                  <a:cubicBezTo>
                    <a:pt x="183" y="1"/>
                    <a:pt x="1" y="183"/>
                    <a:pt x="1" y="408"/>
                  </a:cubicBezTo>
                  <a:cubicBezTo>
                    <a:pt x="1" y="632"/>
                    <a:pt x="183" y="813"/>
                    <a:pt x="406" y="813"/>
                  </a:cubicBezTo>
                  <a:cubicBezTo>
                    <a:pt x="631" y="813"/>
                    <a:pt x="813" y="632"/>
                    <a:pt x="813" y="408"/>
                  </a:cubicBezTo>
                  <a:cubicBezTo>
                    <a:pt x="813" y="183"/>
                    <a:pt x="631" y="1"/>
                    <a:pt x="406"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 name="Google Shape;923;p22"/>
            <p:cNvSpPr/>
            <p:nvPr/>
          </p:nvSpPr>
          <p:spPr>
            <a:xfrm>
              <a:off x="675600" y="3585075"/>
              <a:ext cx="20325" cy="20300"/>
            </a:xfrm>
            <a:custGeom>
              <a:avLst/>
              <a:gdLst/>
              <a:ahLst/>
              <a:cxnLst/>
              <a:rect l="l" t="t" r="r" b="b"/>
              <a:pathLst>
                <a:path w="813" h="812" extrusionOk="0">
                  <a:moveTo>
                    <a:pt x="406" y="0"/>
                  </a:moveTo>
                  <a:cubicBezTo>
                    <a:pt x="183" y="0"/>
                    <a:pt x="1" y="182"/>
                    <a:pt x="1" y="405"/>
                  </a:cubicBezTo>
                  <a:cubicBezTo>
                    <a:pt x="1" y="630"/>
                    <a:pt x="183" y="812"/>
                    <a:pt x="406" y="812"/>
                  </a:cubicBezTo>
                  <a:cubicBezTo>
                    <a:pt x="631" y="812"/>
                    <a:pt x="813" y="630"/>
                    <a:pt x="813" y="405"/>
                  </a:cubicBezTo>
                  <a:cubicBezTo>
                    <a:pt x="813" y="182"/>
                    <a:pt x="631" y="0"/>
                    <a:pt x="40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924;p22"/>
            <p:cNvSpPr/>
            <p:nvPr/>
          </p:nvSpPr>
          <p:spPr>
            <a:xfrm>
              <a:off x="675600" y="3453600"/>
              <a:ext cx="20325" cy="20300"/>
            </a:xfrm>
            <a:custGeom>
              <a:avLst/>
              <a:gdLst/>
              <a:ahLst/>
              <a:cxnLst/>
              <a:rect l="l" t="t" r="r" b="b"/>
              <a:pathLst>
                <a:path w="813" h="812" extrusionOk="0">
                  <a:moveTo>
                    <a:pt x="406" y="0"/>
                  </a:moveTo>
                  <a:cubicBezTo>
                    <a:pt x="183" y="0"/>
                    <a:pt x="1" y="182"/>
                    <a:pt x="1" y="405"/>
                  </a:cubicBezTo>
                  <a:cubicBezTo>
                    <a:pt x="1" y="630"/>
                    <a:pt x="183" y="812"/>
                    <a:pt x="406" y="812"/>
                  </a:cubicBezTo>
                  <a:cubicBezTo>
                    <a:pt x="631" y="812"/>
                    <a:pt x="813" y="630"/>
                    <a:pt x="813" y="405"/>
                  </a:cubicBezTo>
                  <a:cubicBezTo>
                    <a:pt x="813" y="182"/>
                    <a:pt x="631" y="0"/>
                    <a:pt x="40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p22"/>
            <p:cNvSpPr/>
            <p:nvPr/>
          </p:nvSpPr>
          <p:spPr>
            <a:xfrm>
              <a:off x="675600" y="3322125"/>
              <a:ext cx="20325" cy="20325"/>
            </a:xfrm>
            <a:custGeom>
              <a:avLst/>
              <a:gdLst/>
              <a:ahLst/>
              <a:cxnLst/>
              <a:rect l="l" t="t" r="r" b="b"/>
              <a:pathLst>
                <a:path w="813" h="813" extrusionOk="0">
                  <a:moveTo>
                    <a:pt x="406" y="0"/>
                  </a:moveTo>
                  <a:cubicBezTo>
                    <a:pt x="183" y="0"/>
                    <a:pt x="1" y="182"/>
                    <a:pt x="1" y="405"/>
                  </a:cubicBezTo>
                  <a:cubicBezTo>
                    <a:pt x="1" y="630"/>
                    <a:pt x="183" y="812"/>
                    <a:pt x="406" y="812"/>
                  </a:cubicBezTo>
                  <a:cubicBezTo>
                    <a:pt x="631" y="812"/>
                    <a:pt x="813" y="630"/>
                    <a:pt x="813" y="405"/>
                  </a:cubicBezTo>
                  <a:cubicBezTo>
                    <a:pt x="813" y="182"/>
                    <a:pt x="631" y="0"/>
                    <a:pt x="40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p22"/>
            <p:cNvSpPr/>
            <p:nvPr/>
          </p:nvSpPr>
          <p:spPr>
            <a:xfrm>
              <a:off x="675575" y="3190650"/>
              <a:ext cx="20325" cy="20325"/>
            </a:xfrm>
            <a:custGeom>
              <a:avLst/>
              <a:gdLst/>
              <a:ahLst/>
              <a:cxnLst/>
              <a:rect l="l" t="t" r="r" b="b"/>
              <a:pathLst>
                <a:path w="813" h="813" extrusionOk="0">
                  <a:moveTo>
                    <a:pt x="405" y="0"/>
                  </a:moveTo>
                  <a:cubicBezTo>
                    <a:pt x="182" y="0"/>
                    <a:pt x="0" y="182"/>
                    <a:pt x="0" y="405"/>
                  </a:cubicBezTo>
                  <a:cubicBezTo>
                    <a:pt x="0" y="631"/>
                    <a:pt x="182" y="812"/>
                    <a:pt x="405" y="812"/>
                  </a:cubicBezTo>
                  <a:cubicBezTo>
                    <a:pt x="630" y="812"/>
                    <a:pt x="812" y="630"/>
                    <a:pt x="812" y="405"/>
                  </a:cubicBezTo>
                  <a:cubicBezTo>
                    <a:pt x="812" y="182"/>
                    <a:pt x="630" y="0"/>
                    <a:pt x="405"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 name="Google Shape;927;p22"/>
            <p:cNvSpPr/>
            <p:nvPr/>
          </p:nvSpPr>
          <p:spPr>
            <a:xfrm>
              <a:off x="675600" y="3059175"/>
              <a:ext cx="20325" cy="20325"/>
            </a:xfrm>
            <a:custGeom>
              <a:avLst/>
              <a:gdLst/>
              <a:ahLst/>
              <a:cxnLst/>
              <a:rect l="l" t="t" r="r" b="b"/>
              <a:pathLst>
                <a:path w="813" h="813" extrusionOk="0">
                  <a:moveTo>
                    <a:pt x="406" y="0"/>
                  </a:moveTo>
                  <a:cubicBezTo>
                    <a:pt x="183" y="0"/>
                    <a:pt x="1" y="182"/>
                    <a:pt x="1" y="405"/>
                  </a:cubicBezTo>
                  <a:cubicBezTo>
                    <a:pt x="1" y="630"/>
                    <a:pt x="183" y="812"/>
                    <a:pt x="406" y="812"/>
                  </a:cubicBezTo>
                  <a:cubicBezTo>
                    <a:pt x="631" y="812"/>
                    <a:pt x="813" y="630"/>
                    <a:pt x="813" y="405"/>
                  </a:cubicBezTo>
                  <a:cubicBezTo>
                    <a:pt x="813" y="182"/>
                    <a:pt x="631" y="0"/>
                    <a:pt x="40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 name="Google Shape;928;p22"/>
            <p:cNvSpPr/>
            <p:nvPr/>
          </p:nvSpPr>
          <p:spPr>
            <a:xfrm>
              <a:off x="675575" y="2927725"/>
              <a:ext cx="20325" cy="20325"/>
            </a:xfrm>
            <a:custGeom>
              <a:avLst/>
              <a:gdLst/>
              <a:ahLst/>
              <a:cxnLst/>
              <a:rect l="l" t="t" r="r" b="b"/>
              <a:pathLst>
                <a:path w="813" h="813" extrusionOk="0">
                  <a:moveTo>
                    <a:pt x="405" y="1"/>
                  </a:moveTo>
                  <a:cubicBezTo>
                    <a:pt x="182" y="1"/>
                    <a:pt x="0" y="183"/>
                    <a:pt x="0" y="406"/>
                  </a:cubicBezTo>
                  <a:cubicBezTo>
                    <a:pt x="0" y="630"/>
                    <a:pt x="182" y="813"/>
                    <a:pt x="405" y="813"/>
                  </a:cubicBezTo>
                  <a:cubicBezTo>
                    <a:pt x="630" y="813"/>
                    <a:pt x="812" y="630"/>
                    <a:pt x="812" y="406"/>
                  </a:cubicBezTo>
                  <a:cubicBezTo>
                    <a:pt x="812" y="183"/>
                    <a:pt x="630" y="1"/>
                    <a:pt x="40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29" name="Google Shape;929;p22"/>
          <p:cNvSpPr/>
          <p:nvPr/>
        </p:nvSpPr>
        <p:spPr>
          <a:xfrm>
            <a:off x="857250" y="6073400"/>
            <a:ext cx="1792977" cy="1044407"/>
          </a:xfrm>
          <a:custGeom>
            <a:avLst/>
            <a:gdLst/>
            <a:ahLst/>
            <a:cxnLst/>
            <a:rect l="l" t="t" r="r" b="b"/>
            <a:pathLst>
              <a:path w="38116" h="31333" extrusionOk="0">
                <a:moveTo>
                  <a:pt x="22919" y="697"/>
                </a:moveTo>
                <a:lnTo>
                  <a:pt x="37510" y="24038"/>
                </a:lnTo>
                <a:lnTo>
                  <a:pt x="21410" y="16922"/>
                </a:lnTo>
                <a:lnTo>
                  <a:pt x="22919" y="697"/>
                </a:lnTo>
                <a:close/>
                <a:moveTo>
                  <a:pt x="22623" y="767"/>
                </a:moveTo>
                <a:lnTo>
                  <a:pt x="21120" y="16931"/>
                </a:lnTo>
                <a:lnTo>
                  <a:pt x="910" y="30556"/>
                </a:lnTo>
                <a:lnTo>
                  <a:pt x="22623" y="767"/>
                </a:lnTo>
                <a:close/>
                <a:moveTo>
                  <a:pt x="21272" y="17177"/>
                </a:moveTo>
                <a:lnTo>
                  <a:pt x="37392" y="24303"/>
                </a:lnTo>
                <a:lnTo>
                  <a:pt x="958" y="30868"/>
                </a:lnTo>
                <a:lnTo>
                  <a:pt x="21272" y="17177"/>
                </a:lnTo>
                <a:close/>
                <a:moveTo>
                  <a:pt x="22825" y="0"/>
                </a:moveTo>
                <a:lnTo>
                  <a:pt x="1" y="31333"/>
                </a:lnTo>
                <a:lnTo>
                  <a:pt x="38116" y="24463"/>
                </a:lnTo>
                <a:lnTo>
                  <a:pt x="22825"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0" name="Google Shape;930;p22"/>
          <p:cNvGrpSpPr/>
          <p:nvPr/>
        </p:nvGrpSpPr>
        <p:grpSpPr>
          <a:xfrm>
            <a:off x="4572000" y="5547419"/>
            <a:ext cx="543075" cy="198428"/>
            <a:chOff x="3505675" y="3415300"/>
            <a:chExt cx="543075" cy="148825"/>
          </a:xfrm>
        </p:grpSpPr>
        <p:sp>
          <p:nvSpPr>
            <p:cNvPr id="931" name="Google Shape;931;p22"/>
            <p:cNvSpPr/>
            <p:nvPr/>
          </p:nvSpPr>
          <p:spPr>
            <a:xfrm>
              <a:off x="3505675" y="3415300"/>
              <a:ext cx="543075" cy="46575"/>
            </a:xfrm>
            <a:custGeom>
              <a:avLst/>
              <a:gdLst/>
              <a:ahLst/>
              <a:cxnLst/>
              <a:rect l="l" t="t" r="r" b="b"/>
              <a:pathLst>
                <a:path w="21723" h="1863" extrusionOk="0">
                  <a:moveTo>
                    <a:pt x="6638" y="1"/>
                  </a:moveTo>
                  <a:cubicBezTo>
                    <a:pt x="5867" y="1"/>
                    <a:pt x="5097" y="240"/>
                    <a:pt x="4378" y="715"/>
                  </a:cubicBezTo>
                  <a:cubicBezTo>
                    <a:pt x="3752" y="1132"/>
                    <a:pt x="3080" y="1340"/>
                    <a:pt x="2409" y="1340"/>
                  </a:cubicBezTo>
                  <a:cubicBezTo>
                    <a:pt x="1737" y="1340"/>
                    <a:pt x="1065" y="1132"/>
                    <a:pt x="439" y="715"/>
                  </a:cubicBezTo>
                  <a:cubicBezTo>
                    <a:pt x="396" y="686"/>
                    <a:pt x="346" y="672"/>
                    <a:pt x="297" y="672"/>
                  </a:cubicBezTo>
                  <a:cubicBezTo>
                    <a:pt x="214" y="672"/>
                    <a:pt x="131" y="713"/>
                    <a:pt x="81" y="788"/>
                  </a:cubicBezTo>
                  <a:cubicBezTo>
                    <a:pt x="1" y="905"/>
                    <a:pt x="34" y="1068"/>
                    <a:pt x="152" y="1147"/>
                  </a:cubicBezTo>
                  <a:cubicBezTo>
                    <a:pt x="870" y="1624"/>
                    <a:pt x="1639" y="1863"/>
                    <a:pt x="2409" y="1863"/>
                  </a:cubicBezTo>
                  <a:cubicBezTo>
                    <a:pt x="3179" y="1863"/>
                    <a:pt x="3949" y="1624"/>
                    <a:pt x="4666" y="1147"/>
                  </a:cubicBezTo>
                  <a:cubicBezTo>
                    <a:pt x="5292" y="730"/>
                    <a:pt x="5964" y="522"/>
                    <a:pt x="6635" y="522"/>
                  </a:cubicBezTo>
                  <a:cubicBezTo>
                    <a:pt x="7307" y="522"/>
                    <a:pt x="7979" y="730"/>
                    <a:pt x="8605" y="1147"/>
                  </a:cubicBezTo>
                  <a:cubicBezTo>
                    <a:pt x="9322" y="1624"/>
                    <a:pt x="10092" y="1863"/>
                    <a:pt x="10862" y="1863"/>
                  </a:cubicBezTo>
                  <a:cubicBezTo>
                    <a:pt x="11632" y="1863"/>
                    <a:pt x="12401" y="1624"/>
                    <a:pt x="13119" y="1147"/>
                  </a:cubicBezTo>
                  <a:cubicBezTo>
                    <a:pt x="13745" y="730"/>
                    <a:pt x="14416" y="522"/>
                    <a:pt x="15088" y="522"/>
                  </a:cubicBezTo>
                  <a:cubicBezTo>
                    <a:pt x="15759" y="522"/>
                    <a:pt x="16431" y="730"/>
                    <a:pt x="17057" y="1147"/>
                  </a:cubicBezTo>
                  <a:cubicBezTo>
                    <a:pt x="17774" y="1624"/>
                    <a:pt x="18544" y="1863"/>
                    <a:pt x="19314" y="1863"/>
                  </a:cubicBezTo>
                  <a:cubicBezTo>
                    <a:pt x="20084" y="1863"/>
                    <a:pt x="20854" y="1624"/>
                    <a:pt x="21571" y="1147"/>
                  </a:cubicBezTo>
                  <a:cubicBezTo>
                    <a:pt x="21689" y="1068"/>
                    <a:pt x="21723" y="908"/>
                    <a:pt x="21642" y="788"/>
                  </a:cubicBezTo>
                  <a:cubicBezTo>
                    <a:pt x="21593" y="713"/>
                    <a:pt x="21511" y="672"/>
                    <a:pt x="21427" y="672"/>
                  </a:cubicBezTo>
                  <a:cubicBezTo>
                    <a:pt x="21378" y="672"/>
                    <a:pt x="21328" y="686"/>
                    <a:pt x="21284" y="715"/>
                  </a:cubicBezTo>
                  <a:cubicBezTo>
                    <a:pt x="20658" y="1132"/>
                    <a:pt x="19986" y="1340"/>
                    <a:pt x="19315" y="1340"/>
                  </a:cubicBezTo>
                  <a:cubicBezTo>
                    <a:pt x="18643" y="1340"/>
                    <a:pt x="17972" y="1132"/>
                    <a:pt x="17346" y="715"/>
                  </a:cubicBezTo>
                  <a:cubicBezTo>
                    <a:pt x="16628" y="239"/>
                    <a:pt x="15858" y="1"/>
                    <a:pt x="15089" y="1"/>
                  </a:cubicBezTo>
                  <a:cubicBezTo>
                    <a:pt x="14319" y="1"/>
                    <a:pt x="13549" y="239"/>
                    <a:pt x="12832" y="715"/>
                  </a:cubicBezTo>
                  <a:cubicBezTo>
                    <a:pt x="12206" y="1132"/>
                    <a:pt x="11534" y="1340"/>
                    <a:pt x="10862" y="1340"/>
                  </a:cubicBezTo>
                  <a:cubicBezTo>
                    <a:pt x="10191" y="1340"/>
                    <a:pt x="9519" y="1132"/>
                    <a:pt x="8893" y="715"/>
                  </a:cubicBezTo>
                  <a:cubicBezTo>
                    <a:pt x="8177" y="240"/>
                    <a:pt x="7407" y="1"/>
                    <a:pt x="663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932;p22"/>
            <p:cNvSpPr/>
            <p:nvPr/>
          </p:nvSpPr>
          <p:spPr>
            <a:xfrm>
              <a:off x="3505675" y="3517550"/>
              <a:ext cx="543075" cy="46575"/>
            </a:xfrm>
            <a:custGeom>
              <a:avLst/>
              <a:gdLst/>
              <a:ahLst/>
              <a:cxnLst/>
              <a:rect l="l" t="t" r="r" b="b"/>
              <a:pathLst>
                <a:path w="21723" h="1863" extrusionOk="0">
                  <a:moveTo>
                    <a:pt x="6638" y="1"/>
                  </a:moveTo>
                  <a:cubicBezTo>
                    <a:pt x="5867" y="1"/>
                    <a:pt x="5097" y="241"/>
                    <a:pt x="4378" y="716"/>
                  </a:cubicBezTo>
                  <a:cubicBezTo>
                    <a:pt x="3752" y="1132"/>
                    <a:pt x="3080" y="1341"/>
                    <a:pt x="2409" y="1341"/>
                  </a:cubicBezTo>
                  <a:cubicBezTo>
                    <a:pt x="1737" y="1341"/>
                    <a:pt x="1065" y="1132"/>
                    <a:pt x="439" y="716"/>
                  </a:cubicBezTo>
                  <a:cubicBezTo>
                    <a:pt x="396" y="687"/>
                    <a:pt x="346" y="673"/>
                    <a:pt x="297" y="673"/>
                  </a:cubicBezTo>
                  <a:cubicBezTo>
                    <a:pt x="214" y="673"/>
                    <a:pt x="131" y="713"/>
                    <a:pt x="81" y="789"/>
                  </a:cubicBezTo>
                  <a:cubicBezTo>
                    <a:pt x="1" y="906"/>
                    <a:pt x="34" y="1068"/>
                    <a:pt x="152" y="1147"/>
                  </a:cubicBezTo>
                  <a:cubicBezTo>
                    <a:pt x="870" y="1624"/>
                    <a:pt x="1639" y="1863"/>
                    <a:pt x="2409" y="1863"/>
                  </a:cubicBezTo>
                  <a:cubicBezTo>
                    <a:pt x="3179" y="1863"/>
                    <a:pt x="3949" y="1624"/>
                    <a:pt x="4666" y="1147"/>
                  </a:cubicBezTo>
                  <a:cubicBezTo>
                    <a:pt x="5292" y="730"/>
                    <a:pt x="5964" y="522"/>
                    <a:pt x="6635" y="522"/>
                  </a:cubicBezTo>
                  <a:cubicBezTo>
                    <a:pt x="7307" y="522"/>
                    <a:pt x="7979" y="730"/>
                    <a:pt x="8605" y="1147"/>
                  </a:cubicBezTo>
                  <a:cubicBezTo>
                    <a:pt x="9322" y="1624"/>
                    <a:pt x="10092" y="1863"/>
                    <a:pt x="10862" y="1863"/>
                  </a:cubicBezTo>
                  <a:cubicBezTo>
                    <a:pt x="11632" y="1863"/>
                    <a:pt x="12401" y="1624"/>
                    <a:pt x="13119" y="1147"/>
                  </a:cubicBezTo>
                  <a:cubicBezTo>
                    <a:pt x="13745" y="730"/>
                    <a:pt x="14416" y="522"/>
                    <a:pt x="15088" y="522"/>
                  </a:cubicBezTo>
                  <a:cubicBezTo>
                    <a:pt x="15759" y="522"/>
                    <a:pt x="16431" y="730"/>
                    <a:pt x="17057" y="1147"/>
                  </a:cubicBezTo>
                  <a:cubicBezTo>
                    <a:pt x="17774" y="1624"/>
                    <a:pt x="18544" y="1863"/>
                    <a:pt x="19314" y="1863"/>
                  </a:cubicBezTo>
                  <a:cubicBezTo>
                    <a:pt x="20084" y="1863"/>
                    <a:pt x="20854" y="1624"/>
                    <a:pt x="21571" y="1147"/>
                  </a:cubicBezTo>
                  <a:cubicBezTo>
                    <a:pt x="21689" y="1069"/>
                    <a:pt x="21723" y="909"/>
                    <a:pt x="21642" y="789"/>
                  </a:cubicBezTo>
                  <a:cubicBezTo>
                    <a:pt x="21593" y="713"/>
                    <a:pt x="21511" y="673"/>
                    <a:pt x="21427" y="673"/>
                  </a:cubicBezTo>
                  <a:cubicBezTo>
                    <a:pt x="21378" y="673"/>
                    <a:pt x="21328" y="687"/>
                    <a:pt x="21284" y="716"/>
                  </a:cubicBezTo>
                  <a:cubicBezTo>
                    <a:pt x="20658" y="1132"/>
                    <a:pt x="19986" y="1341"/>
                    <a:pt x="19315" y="1341"/>
                  </a:cubicBezTo>
                  <a:cubicBezTo>
                    <a:pt x="18643" y="1341"/>
                    <a:pt x="17972" y="1132"/>
                    <a:pt x="17346" y="716"/>
                  </a:cubicBezTo>
                  <a:cubicBezTo>
                    <a:pt x="16628" y="239"/>
                    <a:pt x="15858" y="1"/>
                    <a:pt x="15089" y="1"/>
                  </a:cubicBezTo>
                  <a:cubicBezTo>
                    <a:pt x="14319" y="1"/>
                    <a:pt x="13549" y="239"/>
                    <a:pt x="12832" y="716"/>
                  </a:cubicBezTo>
                  <a:cubicBezTo>
                    <a:pt x="12206" y="1132"/>
                    <a:pt x="11534" y="1341"/>
                    <a:pt x="10862" y="1341"/>
                  </a:cubicBezTo>
                  <a:cubicBezTo>
                    <a:pt x="10191" y="1341"/>
                    <a:pt x="9519" y="1132"/>
                    <a:pt x="8893" y="716"/>
                  </a:cubicBezTo>
                  <a:cubicBezTo>
                    <a:pt x="8177" y="241"/>
                    <a:pt x="7407" y="1"/>
                    <a:pt x="663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3" name="Google Shape;933;p22">
            <a:hlinkClick r:id="rId2" action="ppaction://hlinksldjump"/>
          </p:cNvPr>
          <p:cNvSpPr txBox="1">
            <a:spLocks noGrp="1"/>
          </p:cNvSpPr>
          <p:nvPr>
            <p:ph type="subTitle" idx="2"/>
          </p:nvPr>
        </p:nvSpPr>
        <p:spPr>
          <a:xfrm>
            <a:off x="882350" y="720000"/>
            <a:ext cx="1106700" cy="462000"/>
          </a:xfrm>
          <a:prstGeom prst="rect">
            <a:avLst/>
          </a:prstGeom>
          <a:ln>
            <a:noFill/>
          </a:ln>
        </p:spPr>
        <p:txBody>
          <a:bodyPr spcFirstLastPara="1" wrap="square" lIns="91425" tIns="91425" rIns="91425" bIns="91425" anchor="ctr" anchorCtr="0">
            <a:noAutofit/>
          </a:bodyPr>
          <a:lstStyle>
            <a:lvl1pPr lvl="0" algn="ctr" rtl="0">
              <a:lnSpc>
                <a:spcPct val="100000"/>
              </a:lnSpc>
              <a:spcBef>
                <a:spcPts val="0"/>
              </a:spcBef>
              <a:spcAft>
                <a:spcPts val="0"/>
              </a:spcAft>
              <a:buClr>
                <a:schemeClr val="dk2"/>
              </a:buClr>
              <a:buSzPts val="1100"/>
              <a:buNone/>
              <a:defRPr sz="950">
                <a:latin typeface="Nunito"/>
                <a:ea typeface="Nunito"/>
                <a:cs typeface="Nunito"/>
                <a:sym typeface="Nunito"/>
              </a:defRPr>
            </a:lvl1pPr>
            <a:lvl2pPr lvl="1" algn="ctr" rtl="0">
              <a:lnSpc>
                <a:spcPct val="100000"/>
              </a:lnSpc>
              <a:spcBef>
                <a:spcPts val="0"/>
              </a:spcBef>
              <a:spcAft>
                <a:spcPts val="0"/>
              </a:spcAft>
              <a:buClr>
                <a:schemeClr val="dk2"/>
              </a:buClr>
              <a:buSzPts val="1100"/>
              <a:buNone/>
              <a:defRPr sz="1100" b="1">
                <a:solidFill>
                  <a:schemeClr val="dk2"/>
                </a:solidFill>
              </a:defRPr>
            </a:lvl2pPr>
            <a:lvl3pPr lvl="2" algn="ctr" rtl="0">
              <a:lnSpc>
                <a:spcPct val="100000"/>
              </a:lnSpc>
              <a:spcBef>
                <a:spcPts val="0"/>
              </a:spcBef>
              <a:spcAft>
                <a:spcPts val="0"/>
              </a:spcAft>
              <a:buClr>
                <a:schemeClr val="dk2"/>
              </a:buClr>
              <a:buSzPts val="1100"/>
              <a:buNone/>
              <a:defRPr sz="1100" b="1">
                <a:solidFill>
                  <a:schemeClr val="dk2"/>
                </a:solidFill>
              </a:defRPr>
            </a:lvl3pPr>
            <a:lvl4pPr lvl="3" algn="ctr" rtl="0">
              <a:lnSpc>
                <a:spcPct val="100000"/>
              </a:lnSpc>
              <a:spcBef>
                <a:spcPts val="0"/>
              </a:spcBef>
              <a:spcAft>
                <a:spcPts val="0"/>
              </a:spcAft>
              <a:buClr>
                <a:schemeClr val="dk2"/>
              </a:buClr>
              <a:buSzPts val="1100"/>
              <a:buNone/>
              <a:defRPr sz="1100" b="1">
                <a:solidFill>
                  <a:schemeClr val="dk2"/>
                </a:solidFill>
              </a:defRPr>
            </a:lvl4pPr>
            <a:lvl5pPr lvl="4" algn="ctr" rtl="0">
              <a:lnSpc>
                <a:spcPct val="100000"/>
              </a:lnSpc>
              <a:spcBef>
                <a:spcPts val="0"/>
              </a:spcBef>
              <a:spcAft>
                <a:spcPts val="0"/>
              </a:spcAft>
              <a:buClr>
                <a:schemeClr val="dk2"/>
              </a:buClr>
              <a:buSzPts val="1100"/>
              <a:buNone/>
              <a:defRPr sz="1100" b="1">
                <a:solidFill>
                  <a:schemeClr val="dk2"/>
                </a:solidFill>
              </a:defRPr>
            </a:lvl5pPr>
            <a:lvl6pPr lvl="5" algn="ctr" rtl="0">
              <a:lnSpc>
                <a:spcPct val="100000"/>
              </a:lnSpc>
              <a:spcBef>
                <a:spcPts val="0"/>
              </a:spcBef>
              <a:spcAft>
                <a:spcPts val="0"/>
              </a:spcAft>
              <a:buClr>
                <a:schemeClr val="dk2"/>
              </a:buClr>
              <a:buSzPts val="1100"/>
              <a:buNone/>
              <a:defRPr sz="1100" b="1">
                <a:solidFill>
                  <a:schemeClr val="dk2"/>
                </a:solidFill>
              </a:defRPr>
            </a:lvl6pPr>
            <a:lvl7pPr lvl="6" algn="ctr" rtl="0">
              <a:lnSpc>
                <a:spcPct val="100000"/>
              </a:lnSpc>
              <a:spcBef>
                <a:spcPts val="0"/>
              </a:spcBef>
              <a:spcAft>
                <a:spcPts val="0"/>
              </a:spcAft>
              <a:buClr>
                <a:schemeClr val="dk2"/>
              </a:buClr>
              <a:buSzPts val="1100"/>
              <a:buNone/>
              <a:defRPr sz="1100" b="1">
                <a:solidFill>
                  <a:schemeClr val="dk2"/>
                </a:solidFill>
              </a:defRPr>
            </a:lvl7pPr>
            <a:lvl8pPr lvl="7" algn="ctr" rtl="0">
              <a:lnSpc>
                <a:spcPct val="100000"/>
              </a:lnSpc>
              <a:spcBef>
                <a:spcPts val="0"/>
              </a:spcBef>
              <a:spcAft>
                <a:spcPts val="0"/>
              </a:spcAft>
              <a:buClr>
                <a:schemeClr val="dk2"/>
              </a:buClr>
              <a:buSzPts val="1100"/>
              <a:buNone/>
              <a:defRPr sz="1100" b="1">
                <a:solidFill>
                  <a:schemeClr val="dk2"/>
                </a:solidFill>
              </a:defRPr>
            </a:lvl8pPr>
            <a:lvl9pPr lvl="8" algn="ctr" rtl="0">
              <a:lnSpc>
                <a:spcPct val="100000"/>
              </a:lnSpc>
              <a:spcBef>
                <a:spcPts val="0"/>
              </a:spcBef>
              <a:spcAft>
                <a:spcPts val="0"/>
              </a:spcAft>
              <a:buClr>
                <a:schemeClr val="dk2"/>
              </a:buClr>
              <a:buSzPts val="1100"/>
              <a:buNone/>
              <a:defRPr sz="1100" b="1">
                <a:solidFill>
                  <a:schemeClr val="dk2"/>
                </a:solidFill>
              </a:defRPr>
            </a:lvl9pPr>
          </a:lstStyle>
          <a:p>
            <a:endParaRPr/>
          </a:p>
        </p:txBody>
      </p:sp>
      <p:sp>
        <p:nvSpPr>
          <p:cNvPr id="934" name="Google Shape;934;p22">
            <a:hlinkClick r:id="rId3" action="ppaction://hlinksldjump"/>
          </p:cNvPr>
          <p:cNvSpPr txBox="1">
            <a:spLocks noGrp="1"/>
          </p:cNvSpPr>
          <p:nvPr>
            <p:ph type="subTitle" idx="3"/>
          </p:nvPr>
        </p:nvSpPr>
        <p:spPr>
          <a:xfrm>
            <a:off x="2046700" y="720000"/>
            <a:ext cx="1106700" cy="462000"/>
          </a:xfrm>
          <a:prstGeom prst="rect">
            <a:avLst/>
          </a:prstGeom>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solidFill>
                  <a:schemeClr val="dk2"/>
                </a:solidFill>
                <a:latin typeface="Nunito Black"/>
                <a:ea typeface="Nunito Black"/>
                <a:cs typeface="Nunito Black"/>
                <a:sym typeface="Nunito Black"/>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
        <p:nvSpPr>
          <p:cNvPr id="935" name="Google Shape;935;p22">
            <a:hlinkClick r:id="" action="ppaction://noaction"/>
          </p:cNvPr>
          <p:cNvSpPr txBox="1">
            <a:spLocks noGrp="1"/>
          </p:cNvSpPr>
          <p:nvPr>
            <p:ph type="subTitle" idx="4"/>
          </p:nvPr>
        </p:nvSpPr>
        <p:spPr>
          <a:xfrm>
            <a:off x="3211050" y="720000"/>
            <a:ext cx="1106700" cy="462000"/>
          </a:xfrm>
          <a:prstGeom prst="rect">
            <a:avLst/>
          </a:prstGeom>
          <a:ln>
            <a:noFill/>
          </a:ln>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latin typeface="Nunito"/>
                <a:ea typeface="Nunito"/>
                <a:cs typeface="Nunito"/>
                <a:sym typeface="Nunito"/>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
        <p:nvSpPr>
          <p:cNvPr id="936" name="Google Shape;936;p22">
            <a:hlinkClick r:id="" action="ppaction://noaction"/>
          </p:cNvPr>
          <p:cNvSpPr txBox="1">
            <a:spLocks noGrp="1"/>
          </p:cNvSpPr>
          <p:nvPr>
            <p:ph type="subTitle" idx="5"/>
          </p:nvPr>
        </p:nvSpPr>
        <p:spPr>
          <a:xfrm>
            <a:off x="4375400" y="720000"/>
            <a:ext cx="1106700" cy="462000"/>
          </a:xfrm>
          <a:prstGeom prst="rect">
            <a:avLst/>
          </a:prstGeom>
          <a:ln>
            <a:noFill/>
          </a:ln>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cxnSp>
        <p:nvCxnSpPr>
          <p:cNvPr id="937" name="Google Shape;937;p22"/>
          <p:cNvCxnSpPr/>
          <p:nvPr/>
        </p:nvCxnSpPr>
        <p:spPr>
          <a:xfrm>
            <a:off x="8516600" y="6520375"/>
            <a:ext cx="306000" cy="0"/>
          </a:xfrm>
          <a:prstGeom prst="straightConnector1">
            <a:avLst/>
          </a:prstGeom>
          <a:noFill/>
          <a:ln w="9525" cap="flat" cmpd="sng">
            <a:solidFill>
              <a:schemeClr val="lt1"/>
            </a:solidFill>
            <a:prstDash val="solid"/>
            <a:round/>
            <a:headEnd type="none" w="med" len="med"/>
            <a:tailEnd type="stealth" w="med" len="med"/>
          </a:ln>
        </p:spPr>
      </p:cxnSp>
      <p:cxnSp>
        <p:nvCxnSpPr>
          <p:cNvPr id="938" name="Google Shape;938;p22"/>
          <p:cNvCxnSpPr/>
          <p:nvPr/>
        </p:nvCxnSpPr>
        <p:spPr>
          <a:xfrm rot="10800000">
            <a:off x="8025400" y="6520375"/>
            <a:ext cx="306000" cy="0"/>
          </a:xfrm>
          <a:prstGeom prst="straightConnector1">
            <a:avLst/>
          </a:prstGeom>
          <a:noFill/>
          <a:ln w="9525" cap="flat" cmpd="sng">
            <a:solidFill>
              <a:schemeClr val="lt1"/>
            </a:solidFill>
            <a:prstDash val="solid"/>
            <a:round/>
            <a:headEnd type="none" w="med" len="med"/>
            <a:tailEnd type="stealth" w="med" len="med"/>
          </a:ln>
        </p:spPr>
      </p:cxnSp>
      <p:cxnSp>
        <p:nvCxnSpPr>
          <p:cNvPr id="939" name="Google Shape;939;p22"/>
          <p:cNvCxnSpPr/>
          <p:nvPr/>
        </p:nvCxnSpPr>
        <p:spPr>
          <a:xfrm>
            <a:off x="810959" y="719996"/>
            <a:ext cx="0" cy="462300"/>
          </a:xfrm>
          <a:prstGeom prst="straightConnector1">
            <a:avLst/>
          </a:prstGeom>
          <a:noFill/>
          <a:ln w="9525" cap="flat" cmpd="sng">
            <a:solidFill>
              <a:schemeClr val="dk2"/>
            </a:solidFill>
            <a:prstDash val="solid"/>
            <a:round/>
            <a:headEnd type="none" w="med" len="med"/>
            <a:tailEnd type="none" w="med" len="med"/>
          </a:ln>
        </p:spPr>
      </p:cxnSp>
      <p:sp>
        <p:nvSpPr>
          <p:cNvPr id="940" name="Google Shape;940;p22"/>
          <p:cNvSpPr txBox="1">
            <a:spLocks noGrp="1"/>
          </p:cNvSpPr>
          <p:nvPr>
            <p:ph type="subTitle" idx="6"/>
          </p:nvPr>
        </p:nvSpPr>
        <p:spPr>
          <a:xfrm>
            <a:off x="5539750" y="720000"/>
            <a:ext cx="1106700" cy="462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100"/>
              <a:buNone/>
              <a:defRPr sz="950">
                <a:latin typeface="Nunito"/>
                <a:ea typeface="Nunito"/>
                <a:cs typeface="Nunito"/>
                <a:sym typeface="Nunito"/>
              </a:defRPr>
            </a:lvl1pPr>
            <a:lvl2pPr lvl="1" algn="ctr" rtl="0">
              <a:lnSpc>
                <a:spcPct val="100000"/>
              </a:lnSpc>
              <a:spcBef>
                <a:spcPts val="0"/>
              </a:spcBef>
              <a:spcAft>
                <a:spcPts val="0"/>
              </a:spcAft>
              <a:buSzPts val="1100"/>
              <a:buNone/>
              <a:defRPr sz="1100"/>
            </a:lvl2pPr>
            <a:lvl3pPr lvl="2" algn="ctr" rtl="0">
              <a:lnSpc>
                <a:spcPct val="100000"/>
              </a:lnSpc>
              <a:spcBef>
                <a:spcPts val="0"/>
              </a:spcBef>
              <a:spcAft>
                <a:spcPts val="0"/>
              </a:spcAft>
              <a:buSzPts val="1100"/>
              <a:buNone/>
              <a:defRPr sz="1100"/>
            </a:lvl3pPr>
            <a:lvl4pPr lvl="3" algn="ctr" rtl="0">
              <a:lnSpc>
                <a:spcPct val="100000"/>
              </a:lnSpc>
              <a:spcBef>
                <a:spcPts val="0"/>
              </a:spcBef>
              <a:spcAft>
                <a:spcPts val="0"/>
              </a:spcAft>
              <a:buSzPts val="1100"/>
              <a:buNone/>
              <a:defRPr sz="1100"/>
            </a:lvl4pPr>
            <a:lvl5pPr lvl="4" algn="ctr" rtl="0">
              <a:lnSpc>
                <a:spcPct val="100000"/>
              </a:lnSpc>
              <a:spcBef>
                <a:spcPts val="0"/>
              </a:spcBef>
              <a:spcAft>
                <a:spcPts val="0"/>
              </a:spcAft>
              <a:buSzPts val="1100"/>
              <a:buNone/>
              <a:defRPr sz="1100"/>
            </a:lvl5pPr>
            <a:lvl6pPr lvl="5" algn="ctr" rtl="0">
              <a:lnSpc>
                <a:spcPct val="100000"/>
              </a:lnSpc>
              <a:spcBef>
                <a:spcPts val="0"/>
              </a:spcBef>
              <a:spcAft>
                <a:spcPts val="0"/>
              </a:spcAft>
              <a:buSzPts val="1100"/>
              <a:buNone/>
              <a:defRPr sz="1100"/>
            </a:lvl6pPr>
            <a:lvl7pPr lvl="6" algn="ctr" rtl="0">
              <a:lnSpc>
                <a:spcPct val="100000"/>
              </a:lnSpc>
              <a:spcBef>
                <a:spcPts val="0"/>
              </a:spcBef>
              <a:spcAft>
                <a:spcPts val="0"/>
              </a:spcAft>
              <a:buSzPts val="1100"/>
              <a:buNone/>
              <a:defRPr sz="1100"/>
            </a:lvl7pPr>
            <a:lvl8pPr lvl="7" algn="ctr" rtl="0">
              <a:lnSpc>
                <a:spcPct val="100000"/>
              </a:lnSpc>
              <a:spcBef>
                <a:spcPts val="0"/>
              </a:spcBef>
              <a:spcAft>
                <a:spcPts val="0"/>
              </a:spcAft>
              <a:buSzPts val="1100"/>
              <a:buNone/>
              <a:defRPr sz="1100"/>
            </a:lvl8pPr>
            <a:lvl9pPr lvl="8" algn="ctr" rtl="0">
              <a:lnSpc>
                <a:spcPct val="100000"/>
              </a:lnSpc>
              <a:spcBef>
                <a:spcPts val="0"/>
              </a:spcBef>
              <a:spcAft>
                <a:spcPts val="0"/>
              </a:spcAft>
              <a:buSzPts val="1100"/>
              <a:buNone/>
              <a:defRPr sz="1100"/>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2"/>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D622DA-4AEE-BF4A-9DA4-92C414102193}"/>
              </a:ext>
            </a:extLst>
          </p:cNvPr>
          <p:cNvGraphicFramePr>
            <a:graphicFrameLocks noChangeAspect="1"/>
          </p:cNvGraphicFramePr>
          <p:nvPr userDrawn="1">
            <p:custDataLst>
              <p:tags r:id="rId16"/>
            </p:custDataLst>
            <p:extLst>
              <p:ext uri="{D42A27DB-BD31-4B8C-83A1-F6EECF244321}">
                <p14:modId xmlns:p14="http://schemas.microsoft.com/office/powerpoint/2010/main" val="8762147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50" name="think-cell Slide" r:id="rId17" imgW="7772400" imgH="10058400" progId="TCLayout.ActiveDocument.1">
                  <p:embed/>
                </p:oleObj>
              </mc:Choice>
              <mc:Fallback>
                <p:oleObj name="think-cell Slide" r:id="rId17" imgW="7772400" imgH="10058400" progId="TCLayout.ActiveDocument.1">
                  <p:embed/>
                  <p:pic>
                    <p:nvPicPr>
                      <p:cNvPr id="0" name=""/>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6" name="Google Shape;6;p1"/>
          <p:cNvSpPr txBox="1">
            <a:spLocks noGrp="1"/>
          </p:cNvSpPr>
          <p:nvPr>
            <p:ph type="title"/>
          </p:nvPr>
        </p:nvSpPr>
        <p:spPr>
          <a:xfrm>
            <a:off x="720000" y="1507767"/>
            <a:ext cx="7704000" cy="7524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dk1"/>
              </a:buClr>
              <a:buSzPts val="2400"/>
              <a:buFont typeface="Space Mono"/>
              <a:buNone/>
              <a:defRPr sz="2400" b="1">
                <a:solidFill>
                  <a:schemeClr val="dk1"/>
                </a:solidFill>
                <a:latin typeface="Space Mono"/>
                <a:ea typeface="Space Mono"/>
                <a:cs typeface="Space Mono"/>
                <a:sym typeface="Space Mono"/>
              </a:defRPr>
            </a:lvl1pPr>
            <a:lvl2pPr lvl="1" rtl="0">
              <a:spcBef>
                <a:spcPts val="0"/>
              </a:spcBef>
              <a:spcAft>
                <a:spcPts val="0"/>
              </a:spcAft>
              <a:buClr>
                <a:schemeClr val="dk1"/>
              </a:buClr>
              <a:buSzPts val="2800"/>
              <a:buFont typeface="Bebas Neue"/>
              <a:buNone/>
              <a:defRPr sz="2800">
                <a:solidFill>
                  <a:schemeClr val="dk1"/>
                </a:solidFill>
                <a:latin typeface="Bebas Neue"/>
                <a:ea typeface="Bebas Neue"/>
                <a:cs typeface="Bebas Neue"/>
                <a:sym typeface="Bebas Neue"/>
              </a:defRPr>
            </a:lvl2pPr>
            <a:lvl3pPr lvl="2" rtl="0">
              <a:spcBef>
                <a:spcPts val="0"/>
              </a:spcBef>
              <a:spcAft>
                <a:spcPts val="0"/>
              </a:spcAft>
              <a:buClr>
                <a:schemeClr val="dk1"/>
              </a:buClr>
              <a:buSzPts val="2800"/>
              <a:buFont typeface="Bebas Neue"/>
              <a:buNone/>
              <a:defRPr sz="2800">
                <a:solidFill>
                  <a:schemeClr val="dk1"/>
                </a:solidFill>
                <a:latin typeface="Bebas Neue"/>
                <a:ea typeface="Bebas Neue"/>
                <a:cs typeface="Bebas Neue"/>
                <a:sym typeface="Bebas Neue"/>
              </a:defRPr>
            </a:lvl3pPr>
            <a:lvl4pPr lvl="3" rtl="0">
              <a:spcBef>
                <a:spcPts val="0"/>
              </a:spcBef>
              <a:spcAft>
                <a:spcPts val="0"/>
              </a:spcAft>
              <a:buClr>
                <a:schemeClr val="dk1"/>
              </a:buClr>
              <a:buSzPts val="2800"/>
              <a:buFont typeface="Bebas Neue"/>
              <a:buNone/>
              <a:defRPr sz="2800">
                <a:solidFill>
                  <a:schemeClr val="dk1"/>
                </a:solidFill>
                <a:latin typeface="Bebas Neue"/>
                <a:ea typeface="Bebas Neue"/>
                <a:cs typeface="Bebas Neue"/>
                <a:sym typeface="Bebas Neue"/>
              </a:defRPr>
            </a:lvl4pPr>
            <a:lvl5pPr lvl="4" rtl="0">
              <a:spcBef>
                <a:spcPts val="0"/>
              </a:spcBef>
              <a:spcAft>
                <a:spcPts val="0"/>
              </a:spcAft>
              <a:buClr>
                <a:schemeClr val="dk1"/>
              </a:buClr>
              <a:buSzPts val="2800"/>
              <a:buFont typeface="Bebas Neue"/>
              <a:buNone/>
              <a:defRPr sz="2800">
                <a:solidFill>
                  <a:schemeClr val="dk1"/>
                </a:solidFill>
                <a:latin typeface="Bebas Neue"/>
                <a:ea typeface="Bebas Neue"/>
                <a:cs typeface="Bebas Neue"/>
                <a:sym typeface="Bebas Neue"/>
              </a:defRPr>
            </a:lvl5pPr>
            <a:lvl6pPr lvl="5" rtl="0">
              <a:spcBef>
                <a:spcPts val="0"/>
              </a:spcBef>
              <a:spcAft>
                <a:spcPts val="0"/>
              </a:spcAft>
              <a:buClr>
                <a:schemeClr val="dk1"/>
              </a:buClr>
              <a:buSzPts val="2800"/>
              <a:buFont typeface="Bebas Neue"/>
              <a:buNone/>
              <a:defRPr sz="2800">
                <a:solidFill>
                  <a:schemeClr val="dk1"/>
                </a:solidFill>
                <a:latin typeface="Bebas Neue"/>
                <a:ea typeface="Bebas Neue"/>
                <a:cs typeface="Bebas Neue"/>
                <a:sym typeface="Bebas Neue"/>
              </a:defRPr>
            </a:lvl6pPr>
            <a:lvl7pPr lvl="6" rtl="0">
              <a:spcBef>
                <a:spcPts val="0"/>
              </a:spcBef>
              <a:spcAft>
                <a:spcPts val="0"/>
              </a:spcAft>
              <a:buClr>
                <a:schemeClr val="dk1"/>
              </a:buClr>
              <a:buSzPts val="2800"/>
              <a:buFont typeface="Bebas Neue"/>
              <a:buNone/>
              <a:defRPr sz="2800">
                <a:solidFill>
                  <a:schemeClr val="dk1"/>
                </a:solidFill>
                <a:latin typeface="Bebas Neue"/>
                <a:ea typeface="Bebas Neue"/>
                <a:cs typeface="Bebas Neue"/>
                <a:sym typeface="Bebas Neue"/>
              </a:defRPr>
            </a:lvl7pPr>
            <a:lvl8pPr lvl="7" rtl="0">
              <a:spcBef>
                <a:spcPts val="0"/>
              </a:spcBef>
              <a:spcAft>
                <a:spcPts val="0"/>
              </a:spcAft>
              <a:buClr>
                <a:schemeClr val="dk1"/>
              </a:buClr>
              <a:buSzPts val="2800"/>
              <a:buFont typeface="Bebas Neue"/>
              <a:buNone/>
              <a:defRPr sz="2800">
                <a:solidFill>
                  <a:schemeClr val="dk1"/>
                </a:solidFill>
                <a:latin typeface="Bebas Neue"/>
                <a:ea typeface="Bebas Neue"/>
                <a:cs typeface="Bebas Neue"/>
                <a:sym typeface="Bebas Neue"/>
              </a:defRPr>
            </a:lvl8pPr>
            <a:lvl9pPr lvl="8" rtl="0">
              <a:spcBef>
                <a:spcPts val="0"/>
              </a:spcBef>
              <a:spcAft>
                <a:spcPts val="0"/>
              </a:spcAft>
              <a:buClr>
                <a:schemeClr val="dk1"/>
              </a:buClr>
              <a:buSzPts val="2800"/>
              <a:buFont typeface="Bebas Neue"/>
              <a:buNone/>
              <a:defRPr sz="2800">
                <a:solidFill>
                  <a:schemeClr val="dk1"/>
                </a:solidFill>
                <a:latin typeface="Bebas Neue"/>
                <a:ea typeface="Bebas Neue"/>
                <a:cs typeface="Bebas Neue"/>
                <a:sym typeface="Bebas Neue"/>
              </a:defRPr>
            </a:lvl9pPr>
          </a:lstStyle>
          <a:p>
            <a:endParaRPr/>
          </a:p>
        </p:txBody>
      </p:sp>
      <p:sp>
        <p:nvSpPr>
          <p:cNvPr id="7" name="Google Shape;7;p1"/>
          <p:cNvSpPr txBox="1">
            <a:spLocks noGrp="1"/>
          </p:cNvSpPr>
          <p:nvPr>
            <p:ph type="body" idx="1"/>
          </p:nvPr>
        </p:nvSpPr>
        <p:spPr>
          <a:xfrm>
            <a:off x="720000" y="2260168"/>
            <a:ext cx="7704000" cy="3877500"/>
          </a:xfrm>
          <a:prstGeom prst="rect">
            <a:avLst/>
          </a:prstGeom>
          <a:noFill/>
          <a:ln>
            <a:noFill/>
          </a:ln>
        </p:spPr>
        <p:txBody>
          <a:bodyPr spcFirstLastPara="1" wrap="square" lIns="91425" tIns="91425" rIns="91425" bIns="91425" anchor="t" anchorCtr="0">
            <a:noAutofit/>
          </a:bodyPr>
          <a:lstStyle>
            <a:lvl1pPr marL="457200" lvl="0" indent="-317500">
              <a:lnSpc>
                <a:spcPct val="100000"/>
              </a:lnSpc>
              <a:spcBef>
                <a:spcPts val="0"/>
              </a:spcBef>
              <a:spcAft>
                <a:spcPts val="0"/>
              </a:spcAft>
              <a:buClr>
                <a:schemeClr val="dk1"/>
              </a:buClr>
              <a:buSzPts val="1400"/>
              <a:buFont typeface="Nunito"/>
              <a:buChar char="●"/>
              <a:defRPr>
                <a:solidFill>
                  <a:schemeClr val="dk1"/>
                </a:solidFill>
                <a:latin typeface="Nunito"/>
                <a:ea typeface="Nunito"/>
                <a:cs typeface="Nunito"/>
                <a:sym typeface="Nunito"/>
              </a:defRPr>
            </a:lvl1pPr>
            <a:lvl2pPr marL="914400" lvl="1" indent="-317500">
              <a:lnSpc>
                <a:spcPct val="100000"/>
              </a:lnSpc>
              <a:spcBef>
                <a:spcPts val="1600"/>
              </a:spcBef>
              <a:spcAft>
                <a:spcPts val="0"/>
              </a:spcAft>
              <a:buClr>
                <a:schemeClr val="dk1"/>
              </a:buClr>
              <a:buSzPts val="1400"/>
              <a:buFont typeface="Nunito"/>
              <a:buChar char="○"/>
              <a:defRPr>
                <a:solidFill>
                  <a:schemeClr val="dk1"/>
                </a:solidFill>
                <a:latin typeface="Nunito"/>
                <a:ea typeface="Nunito"/>
                <a:cs typeface="Nunito"/>
                <a:sym typeface="Nunito"/>
              </a:defRPr>
            </a:lvl2pPr>
            <a:lvl3pPr marL="1371600" lvl="2" indent="-317500">
              <a:lnSpc>
                <a:spcPct val="100000"/>
              </a:lnSpc>
              <a:spcBef>
                <a:spcPts val="1600"/>
              </a:spcBef>
              <a:spcAft>
                <a:spcPts val="0"/>
              </a:spcAft>
              <a:buClr>
                <a:schemeClr val="dk1"/>
              </a:buClr>
              <a:buSzPts val="1400"/>
              <a:buFont typeface="Nunito"/>
              <a:buChar char="■"/>
              <a:defRPr>
                <a:solidFill>
                  <a:schemeClr val="dk1"/>
                </a:solidFill>
                <a:latin typeface="Nunito"/>
                <a:ea typeface="Nunito"/>
                <a:cs typeface="Nunito"/>
                <a:sym typeface="Nunito"/>
              </a:defRPr>
            </a:lvl3pPr>
            <a:lvl4pPr marL="1828800" lvl="3" indent="-317500">
              <a:lnSpc>
                <a:spcPct val="100000"/>
              </a:lnSpc>
              <a:spcBef>
                <a:spcPts val="1600"/>
              </a:spcBef>
              <a:spcAft>
                <a:spcPts val="0"/>
              </a:spcAft>
              <a:buClr>
                <a:schemeClr val="dk1"/>
              </a:buClr>
              <a:buSzPts val="1400"/>
              <a:buFont typeface="Nunito"/>
              <a:buChar char="●"/>
              <a:defRPr>
                <a:solidFill>
                  <a:schemeClr val="dk1"/>
                </a:solidFill>
                <a:latin typeface="Nunito"/>
                <a:ea typeface="Nunito"/>
                <a:cs typeface="Nunito"/>
                <a:sym typeface="Nunito"/>
              </a:defRPr>
            </a:lvl4pPr>
            <a:lvl5pPr marL="2286000" lvl="4" indent="-317500">
              <a:lnSpc>
                <a:spcPct val="100000"/>
              </a:lnSpc>
              <a:spcBef>
                <a:spcPts val="1600"/>
              </a:spcBef>
              <a:spcAft>
                <a:spcPts val="0"/>
              </a:spcAft>
              <a:buClr>
                <a:schemeClr val="dk1"/>
              </a:buClr>
              <a:buSzPts val="1400"/>
              <a:buFont typeface="Nunito"/>
              <a:buChar char="○"/>
              <a:defRPr>
                <a:solidFill>
                  <a:schemeClr val="dk1"/>
                </a:solidFill>
                <a:latin typeface="Nunito"/>
                <a:ea typeface="Nunito"/>
                <a:cs typeface="Nunito"/>
                <a:sym typeface="Nunito"/>
              </a:defRPr>
            </a:lvl5pPr>
            <a:lvl6pPr marL="2743200" lvl="5" indent="-317500">
              <a:lnSpc>
                <a:spcPct val="100000"/>
              </a:lnSpc>
              <a:spcBef>
                <a:spcPts val="1600"/>
              </a:spcBef>
              <a:spcAft>
                <a:spcPts val="0"/>
              </a:spcAft>
              <a:buClr>
                <a:schemeClr val="dk1"/>
              </a:buClr>
              <a:buSzPts val="1400"/>
              <a:buFont typeface="Nunito"/>
              <a:buChar char="■"/>
              <a:defRPr>
                <a:solidFill>
                  <a:schemeClr val="dk1"/>
                </a:solidFill>
                <a:latin typeface="Nunito"/>
                <a:ea typeface="Nunito"/>
                <a:cs typeface="Nunito"/>
                <a:sym typeface="Nunito"/>
              </a:defRPr>
            </a:lvl6pPr>
            <a:lvl7pPr marL="3200400" lvl="6" indent="-317500">
              <a:lnSpc>
                <a:spcPct val="100000"/>
              </a:lnSpc>
              <a:spcBef>
                <a:spcPts val="1600"/>
              </a:spcBef>
              <a:spcAft>
                <a:spcPts val="0"/>
              </a:spcAft>
              <a:buClr>
                <a:schemeClr val="dk1"/>
              </a:buClr>
              <a:buSzPts val="1400"/>
              <a:buFont typeface="Nunito"/>
              <a:buChar char="●"/>
              <a:defRPr>
                <a:solidFill>
                  <a:schemeClr val="dk1"/>
                </a:solidFill>
                <a:latin typeface="Nunito"/>
                <a:ea typeface="Nunito"/>
                <a:cs typeface="Nunito"/>
                <a:sym typeface="Nunito"/>
              </a:defRPr>
            </a:lvl7pPr>
            <a:lvl8pPr marL="3657600" lvl="7" indent="-317500">
              <a:lnSpc>
                <a:spcPct val="100000"/>
              </a:lnSpc>
              <a:spcBef>
                <a:spcPts val="1600"/>
              </a:spcBef>
              <a:spcAft>
                <a:spcPts val="0"/>
              </a:spcAft>
              <a:buClr>
                <a:schemeClr val="dk1"/>
              </a:buClr>
              <a:buSzPts val="1400"/>
              <a:buFont typeface="Nunito"/>
              <a:buChar char="○"/>
              <a:defRPr>
                <a:solidFill>
                  <a:schemeClr val="dk1"/>
                </a:solidFill>
                <a:latin typeface="Nunito"/>
                <a:ea typeface="Nunito"/>
                <a:cs typeface="Nunito"/>
                <a:sym typeface="Nunito"/>
              </a:defRPr>
            </a:lvl8pPr>
            <a:lvl9pPr marL="4114800" lvl="8" indent="-317500">
              <a:lnSpc>
                <a:spcPct val="100000"/>
              </a:lnSpc>
              <a:spcBef>
                <a:spcPts val="1600"/>
              </a:spcBef>
              <a:spcAft>
                <a:spcPts val="1600"/>
              </a:spcAft>
              <a:buClr>
                <a:schemeClr val="dk1"/>
              </a:buClr>
              <a:buSzPts val="1400"/>
              <a:buFont typeface="Nunito"/>
              <a:buChar char="■"/>
              <a:defRPr>
                <a:solidFill>
                  <a:schemeClr val="dk1"/>
                </a:solidFill>
                <a:latin typeface="Nunito"/>
                <a:ea typeface="Nunito"/>
                <a:cs typeface="Nunito"/>
                <a:sym typeface="Nunito"/>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5" r:id="rId4"/>
    <p:sldLayoutId id="2147483657" r:id="rId5"/>
    <p:sldLayoutId id="2147483658" r:id="rId6"/>
    <p:sldLayoutId id="2147483662" r:id="rId7"/>
    <p:sldLayoutId id="2147483663" r:id="rId8"/>
    <p:sldLayoutId id="2147483668" r:id="rId9"/>
    <p:sldLayoutId id="2147483674" r:id="rId10"/>
    <p:sldLayoutId id="2147483675" r:id="rId11"/>
    <p:sldLayoutId id="2147483676" r:id="rId12"/>
    <p:sldLayoutId id="2147483677" r:id="rId1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2.jpg"/><Relationship Id="rId4" Type="http://schemas.openxmlformats.org/officeDocument/2006/relationships/slide" Target="slide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slide" Target="slide1.xml"/><Relationship Id="rId4" Type="http://schemas.openxmlformats.org/officeDocument/2006/relationships/image" Target="../media/image3.jpg"/></Relationships>
</file>

<file path=ppt/slides/_rels/slide4.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slide" Target="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5.xml"/><Relationship Id="rId1" Type="http://schemas.openxmlformats.org/officeDocument/2006/relationships/slideLayout" Target="../slideLayouts/slideLayout9.xml"/><Relationship Id="rId5" Type="http://schemas.openxmlformats.org/officeDocument/2006/relationships/slide" Target="slide4.xml"/><Relationship Id="rId4" Type="http://schemas.openxmlformats.org/officeDocument/2006/relationships/slide" Target="slide1.xml"/></Relationships>
</file>

<file path=ppt/slides/_rels/slide6.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slide" Target="slide4.xml"/></Relationships>
</file>

<file path=ppt/slides/_rels/slide7.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slide" Target="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1194"/>
        <p:cNvGrpSpPr/>
        <p:nvPr/>
      </p:nvGrpSpPr>
      <p:grpSpPr>
        <a:xfrm>
          <a:off x="0" y="0"/>
          <a:ext cx="0" cy="0"/>
          <a:chOff x="0" y="0"/>
          <a:chExt cx="0" cy="0"/>
        </a:xfrm>
      </p:grpSpPr>
      <p:sp>
        <p:nvSpPr>
          <p:cNvPr id="1195" name="Google Shape;1195;p35"/>
          <p:cNvSpPr txBox="1">
            <a:spLocks noGrp="1"/>
          </p:cNvSpPr>
          <p:nvPr>
            <p:ph type="ctrTitle"/>
          </p:nvPr>
        </p:nvSpPr>
        <p:spPr>
          <a:xfrm>
            <a:off x="720000" y="2231286"/>
            <a:ext cx="5655900" cy="28452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sz="4600">
                <a:solidFill>
                  <a:schemeClr val="dk1"/>
                </a:solidFill>
              </a:rPr>
              <a:t>Civics</a:t>
            </a:r>
            <a:r>
              <a:rPr lang="en" sz="4600">
                <a:solidFill>
                  <a:schemeClr val="accent3"/>
                </a:solidFill>
              </a:rPr>
              <a:t>Political</a:t>
            </a:r>
            <a:r>
              <a:rPr lang="en" sz="4600">
                <a:solidFill>
                  <a:schemeClr val="dk1"/>
                </a:solidFill>
              </a:rPr>
              <a:t> Capstone</a:t>
            </a:r>
            <a:endParaRPr sz="4600">
              <a:solidFill>
                <a:schemeClr val="dk1"/>
              </a:solidFill>
            </a:endParaRPr>
          </a:p>
        </p:txBody>
      </p:sp>
      <p:sp>
        <p:nvSpPr>
          <p:cNvPr id="1196" name="Google Shape;1196;p35"/>
          <p:cNvSpPr txBox="1">
            <a:spLocks noGrp="1"/>
          </p:cNvSpPr>
          <p:nvPr>
            <p:ph type="subTitle" idx="1"/>
          </p:nvPr>
        </p:nvSpPr>
        <p:spPr>
          <a:xfrm>
            <a:off x="720000" y="5125788"/>
            <a:ext cx="5655900" cy="578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Aida, Joseph, Liza, and Irina</a:t>
            </a:r>
            <a:endParaRPr/>
          </a:p>
        </p:txBody>
      </p:sp>
      <p:sp>
        <p:nvSpPr>
          <p:cNvPr id="1197" name="Google Shape;1197;p35">
            <a:hlinkClick r:id="rId3" action="ppaction://hlinksldjump"/>
          </p:cNvPr>
          <p:cNvSpPr txBox="1">
            <a:spLocks noGrp="1"/>
          </p:cNvSpPr>
          <p:nvPr>
            <p:ph type="subTitle" idx="2"/>
          </p:nvPr>
        </p:nvSpPr>
        <p:spPr>
          <a:xfrm>
            <a:off x="882350"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Introduction</a:t>
            </a:r>
            <a:endParaRPr/>
          </a:p>
        </p:txBody>
      </p:sp>
      <p:sp>
        <p:nvSpPr>
          <p:cNvPr id="1198" name="Google Shape;1198;p35">
            <a:hlinkClick r:id="rId4" action="ppaction://hlinksldjump"/>
          </p:cNvPr>
          <p:cNvSpPr txBox="1">
            <a:spLocks noGrp="1"/>
          </p:cNvSpPr>
          <p:nvPr>
            <p:ph type="subTitle" idx="3"/>
          </p:nvPr>
        </p:nvSpPr>
        <p:spPr>
          <a:xfrm>
            <a:off x="2046700"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The Question</a:t>
            </a:r>
            <a:endParaRPr/>
          </a:p>
        </p:txBody>
      </p:sp>
      <p:sp>
        <p:nvSpPr>
          <p:cNvPr id="1199" name="Google Shape;1199;p35">
            <a:hlinkClick r:id="" action="ppaction://noaction"/>
          </p:cNvPr>
          <p:cNvSpPr txBox="1">
            <a:spLocks noGrp="1"/>
          </p:cNvSpPr>
          <p:nvPr>
            <p:ph type="subTitle" idx="4"/>
          </p:nvPr>
        </p:nvSpPr>
        <p:spPr>
          <a:xfrm>
            <a:off x="3211050"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Why?</a:t>
            </a:r>
            <a:endParaRPr/>
          </a:p>
        </p:txBody>
      </p:sp>
      <p:sp>
        <p:nvSpPr>
          <p:cNvPr id="1200" name="Google Shape;1200;p35">
            <a:hlinkClick r:id="" action="ppaction://noaction"/>
          </p:cNvPr>
          <p:cNvSpPr txBox="1">
            <a:spLocks noGrp="1"/>
          </p:cNvSpPr>
          <p:nvPr>
            <p:ph type="subTitle" idx="5"/>
          </p:nvPr>
        </p:nvSpPr>
        <p:spPr>
          <a:xfrm>
            <a:off x="4375400"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Data Source</a:t>
            </a:r>
            <a:endParaRPr/>
          </a:p>
        </p:txBody>
      </p:sp>
      <p:grpSp>
        <p:nvGrpSpPr>
          <p:cNvPr id="1201" name="Google Shape;1201;p35"/>
          <p:cNvGrpSpPr/>
          <p:nvPr/>
        </p:nvGrpSpPr>
        <p:grpSpPr>
          <a:xfrm>
            <a:off x="6375911" y="1939540"/>
            <a:ext cx="2518071" cy="3693466"/>
            <a:chOff x="6381950" y="1536125"/>
            <a:chExt cx="2337825" cy="3347350"/>
          </a:xfrm>
        </p:grpSpPr>
        <p:sp>
          <p:nvSpPr>
            <p:cNvPr id="1202" name="Google Shape;1202;p35"/>
            <p:cNvSpPr/>
            <p:nvPr/>
          </p:nvSpPr>
          <p:spPr>
            <a:xfrm>
              <a:off x="6671675" y="1808825"/>
              <a:ext cx="2048100" cy="3074100"/>
            </a:xfrm>
            <a:prstGeom prst="rect">
              <a:avLst/>
            </a:prstGeom>
            <a:no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203" name="Google Shape;1203;p35"/>
            <p:cNvCxnSpPr/>
            <p:nvPr/>
          </p:nvCxnSpPr>
          <p:spPr>
            <a:xfrm>
              <a:off x="6381950" y="4598125"/>
              <a:ext cx="288600" cy="285300"/>
            </a:xfrm>
            <a:prstGeom prst="straightConnector1">
              <a:avLst/>
            </a:prstGeom>
            <a:noFill/>
            <a:ln w="9525" cap="flat" cmpd="sng">
              <a:solidFill>
                <a:schemeClr val="accent6"/>
              </a:solidFill>
              <a:prstDash val="solid"/>
              <a:round/>
              <a:headEnd type="none" w="med" len="med"/>
              <a:tailEnd type="none" w="med" len="med"/>
            </a:ln>
          </p:spPr>
        </p:cxnSp>
        <p:cxnSp>
          <p:nvCxnSpPr>
            <p:cNvPr id="1204" name="Google Shape;1204;p35"/>
            <p:cNvCxnSpPr/>
            <p:nvPr/>
          </p:nvCxnSpPr>
          <p:spPr>
            <a:xfrm>
              <a:off x="8375950" y="4549275"/>
              <a:ext cx="338400" cy="334200"/>
            </a:xfrm>
            <a:prstGeom prst="straightConnector1">
              <a:avLst/>
            </a:prstGeom>
            <a:noFill/>
            <a:ln w="9525" cap="flat" cmpd="sng">
              <a:solidFill>
                <a:schemeClr val="accent6"/>
              </a:solidFill>
              <a:prstDash val="solid"/>
              <a:round/>
              <a:headEnd type="none" w="med" len="med"/>
              <a:tailEnd type="none" w="med" len="med"/>
            </a:ln>
          </p:spPr>
        </p:cxnSp>
        <p:cxnSp>
          <p:nvCxnSpPr>
            <p:cNvPr id="1205" name="Google Shape;1205;p35"/>
            <p:cNvCxnSpPr/>
            <p:nvPr/>
          </p:nvCxnSpPr>
          <p:spPr>
            <a:xfrm>
              <a:off x="8420250" y="1536125"/>
              <a:ext cx="299400" cy="272700"/>
            </a:xfrm>
            <a:prstGeom prst="straightConnector1">
              <a:avLst/>
            </a:prstGeom>
            <a:noFill/>
            <a:ln w="9525" cap="flat" cmpd="sng">
              <a:solidFill>
                <a:schemeClr val="accent6"/>
              </a:solidFill>
              <a:prstDash val="solid"/>
              <a:round/>
              <a:headEnd type="none" w="med" len="med"/>
              <a:tailEnd type="none" w="med" len="med"/>
            </a:ln>
          </p:spPr>
        </p:cxnSp>
      </p:grpSp>
      <p:pic>
        <p:nvPicPr>
          <p:cNvPr id="1206" name="Google Shape;1206;p35"/>
          <p:cNvPicPr preferRelativeResize="0"/>
          <p:nvPr/>
        </p:nvPicPr>
        <p:blipFill rotWithShape="1">
          <a:blip r:embed="rId5">
            <a:alphaModFix/>
          </a:blip>
          <a:srcRect l="31263" r="31259"/>
          <a:stretch/>
        </p:blipFill>
        <p:spPr>
          <a:xfrm>
            <a:off x="6375900" y="1934625"/>
            <a:ext cx="2206026" cy="3385600"/>
          </a:xfrm>
          <a:prstGeom prst="rect">
            <a:avLst/>
          </a:prstGeom>
          <a:noFill/>
          <a:ln>
            <a:noFill/>
          </a:ln>
        </p:spPr>
      </p:pic>
      <p:sp>
        <p:nvSpPr>
          <p:cNvPr id="1207" name="Google Shape;1207;p35"/>
          <p:cNvSpPr/>
          <p:nvPr/>
        </p:nvSpPr>
        <p:spPr>
          <a:xfrm>
            <a:off x="6032047" y="1934625"/>
            <a:ext cx="714239" cy="723984"/>
          </a:xfrm>
          <a:custGeom>
            <a:avLst/>
            <a:gdLst/>
            <a:ahLst/>
            <a:cxnLst/>
            <a:rect l="l" t="t" r="r" b="b"/>
            <a:pathLst>
              <a:path w="34117" h="34114" extrusionOk="0">
                <a:moveTo>
                  <a:pt x="16550" y="1"/>
                </a:moveTo>
                <a:cubicBezTo>
                  <a:pt x="16546" y="1"/>
                  <a:pt x="16541" y="1"/>
                  <a:pt x="16536" y="1"/>
                </a:cubicBezTo>
                <a:cubicBezTo>
                  <a:pt x="16277" y="9"/>
                  <a:pt x="16072" y="224"/>
                  <a:pt x="16079" y="487"/>
                </a:cubicBezTo>
                <a:cubicBezTo>
                  <a:pt x="16088" y="743"/>
                  <a:pt x="16296" y="943"/>
                  <a:pt x="16551" y="943"/>
                </a:cubicBezTo>
                <a:lnTo>
                  <a:pt x="16565" y="943"/>
                </a:lnTo>
                <a:cubicBezTo>
                  <a:pt x="16826" y="934"/>
                  <a:pt x="17031" y="717"/>
                  <a:pt x="17022" y="458"/>
                </a:cubicBezTo>
                <a:cubicBezTo>
                  <a:pt x="17014" y="201"/>
                  <a:pt x="16806" y="1"/>
                  <a:pt x="16550" y="1"/>
                </a:cubicBezTo>
                <a:close/>
                <a:moveTo>
                  <a:pt x="18442" y="54"/>
                </a:moveTo>
                <a:cubicBezTo>
                  <a:pt x="18201" y="54"/>
                  <a:pt x="17995" y="238"/>
                  <a:pt x="17975" y="487"/>
                </a:cubicBezTo>
                <a:cubicBezTo>
                  <a:pt x="17952" y="745"/>
                  <a:pt x="18145" y="971"/>
                  <a:pt x="18406" y="995"/>
                </a:cubicBezTo>
                <a:lnTo>
                  <a:pt x="18441" y="995"/>
                </a:lnTo>
                <a:cubicBezTo>
                  <a:pt x="18684" y="995"/>
                  <a:pt x="18893" y="808"/>
                  <a:pt x="18914" y="564"/>
                </a:cubicBezTo>
                <a:cubicBezTo>
                  <a:pt x="18937" y="306"/>
                  <a:pt x="18743" y="77"/>
                  <a:pt x="18483" y="56"/>
                </a:cubicBezTo>
                <a:cubicBezTo>
                  <a:pt x="18469" y="54"/>
                  <a:pt x="18455" y="54"/>
                  <a:pt x="18442" y="54"/>
                </a:cubicBezTo>
                <a:close/>
                <a:moveTo>
                  <a:pt x="14666" y="164"/>
                </a:moveTo>
                <a:cubicBezTo>
                  <a:pt x="14644" y="164"/>
                  <a:pt x="14621" y="166"/>
                  <a:pt x="14598" y="169"/>
                </a:cubicBezTo>
                <a:cubicBezTo>
                  <a:pt x="14340" y="207"/>
                  <a:pt x="14161" y="444"/>
                  <a:pt x="14197" y="705"/>
                </a:cubicBezTo>
                <a:cubicBezTo>
                  <a:pt x="14234" y="937"/>
                  <a:pt x="14432" y="1107"/>
                  <a:pt x="14665" y="1107"/>
                </a:cubicBezTo>
                <a:cubicBezTo>
                  <a:pt x="14686" y="1107"/>
                  <a:pt x="14709" y="1104"/>
                  <a:pt x="14731" y="1103"/>
                </a:cubicBezTo>
                <a:cubicBezTo>
                  <a:pt x="14988" y="1065"/>
                  <a:pt x="15169" y="827"/>
                  <a:pt x="15131" y="570"/>
                </a:cubicBezTo>
                <a:cubicBezTo>
                  <a:pt x="15097" y="335"/>
                  <a:pt x="14896" y="164"/>
                  <a:pt x="14666" y="164"/>
                </a:cubicBezTo>
                <a:close/>
                <a:moveTo>
                  <a:pt x="20319" y="316"/>
                </a:moveTo>
                <a:cubicBezTo>
                  <a:pt x="20098" y="316"/>
                  <a:pt x="19901" y="472"/>
                  <a:pt x="19857" y="695"/>
                </a:cubicBezTo>
                <a:cubicBezTo>
                  <a:pt x="19807" y="950"/>
                  <a:pt x="19972" y="1200"/>
                  <a:pt x="20227" y="1252"/>
                </a:cubicBezTo>
                <a:lnTo>
                  <a:pt x="20227" y="1249"/>
                </a:lnTo>
                <a:cubicBezTo>
                  <a:pt x="20259" y="1255"/>
                  <a:pt x="20289" y="1259"/>
                  <a:pt x="20320" y="1259"/>
                </a:cubicBezTo>
                <a:cubicBezTo>
                  <a:pt x="20540" y="1259"/>
                  <a:pt x="20737" y="1103"/>
                  <a:pt x="20783" y="880"/>
                </a:cubicBezTo>
                <a:cubicBezTo>
                  <a:pt x="20831" y="625"/>
                  <a:pt x="20667" y="376"/>
                  <a:pt x="20412" y="326"/>
                </a:cubicBezTo>
                <a:cubicBezTo>
                  <a:pt x="20381" y="319"/>
                  <a:pt x="20350" y="316"/>
                  <a:pt x="20319" y="316"/>
                </a:cubicBezTo>
                <a:close/>
                <a:moveTo>
                  <a:pt x="12809" y="542"/>
                </a:moveTo>
                <a:cubicBezTo>
                  <a:pt x="12769" y="542"/>
                  <a:pt x="12728" y="547"/>
                  <a:pt x="12687" y="558"/>
                </a:cubicBezTo>
                <a:cubicBezTo>
                  <a:pt x="12435" y="625"/>
                  <a:pt x="12286" y="881"/>
                  <a:pt x="12353" y="1133"/>
                </a:cubicBezTo>
                <a:cubicBezTo>
                  <a:pt x="12408" y="1343"/>
                  <a:pt x="12597" y="1484"/>
                  <a:pt x="12808" y="1484"/>
                </a:cubicBezTo>
                <a:cubicBezTo>
                  <a:pt x="12848" y="1484"/>
                  <a:pt x="12889" y="1479"/>
                  <a:pt x="12928" y="1467"/>
                </a:cubicBezTo>
                <a:cubicBezTo>
                  <a:pt x="13180" y="1400"/>
                  <a:pt x="13332" y="1145"/>
                  <a:pt x="13265" y="892"/>
                </a:cubicBezTo>
                <a:cubicBezTo>
                  <a:pt x="13207" y="682"/>
                  <a:pt x="13017" y="542"/>
                  <a:pt x="12809" y="542"/>
                </a:cubicBezTo>
                <a:close/>
                <a:moveTo>
                  <a:pt x="22155" y="793"/>
                </a:moveTo>
                <a:cubicBezTo>
                  <a:pt x="21955" y="793"/>
                  <a:pt x="21769" y="921"/>
                  <a:pt x="21704" y="1120"/>
                </a:cubicBezTo>
                <a:cubicBezTo>
                  <a:pt x="21622" y="1367"/>
                  <a:pt x="21760" y="1634"/>
                  <a:pt x="22008" y="1714"/>
                </a:cubicBezTo>
                <a:cubicBezTo>
                  <a:pt x="22056" y="1730"/>
                  <a:pt x="22105" y="1737"/>
                  <a:pt x="22152" y="1739"/>
                </a:cubicBezTo>
                <a:cubicBezTo>
                  <a:pt x="22352" y="1739"/>
                  <a:pt x="22536" y="1611"/>
                  <a:pt x="22602" y="1411"/>
                </a:cubicBezTo>
                <a:cubicBezTo>
                  <a:pt x="22683" y="1164"/>
                  <a:pt x="22545" y="896"/>
                  <a:pt x="22299" y="816"/>
                </a:cubicBezTo>
                <a:cubicBezTo>
                  <a:pt x="22251" y="800"/>
                  <a:pt x="22202" y="793"/>
                  <a:pt x="22155" y="793"/>
                </a:cubicBezTo>
                <a:close/>
                <a:moveTo>
                  <a:pt x="11010" y="1129"/>
                </a:moveTo>
                <a:cubicBezTo>
                  <a:pt x="10952" y="1129"/>
                  <a:pt x="10894" y="1140"/>
                  <a:pt x="10837" y="1162"/>
                </a:cubicBezTo>
                <a:cubicBezTo>
                  <a:pt x="10594" y="1256"/>
                  <a:pt x="10473" y="1529"/>
                  <a:pt x="10568" y="1772"/>
                </a:cubicBezTo>
                <a:cubicBezTo>
                  <a:pt x="10643" y="1959"/>
                  <a:pt x="10819" y="2071"/>
                  <a:pt x="11007" y="2071"/>
                </a:cubicBezTo>
                <a:cubicBezTo>
                  <a:pt x="11065" y="2071"/>
                  <a:pt x="11122" y="2061"/>
                  <a:pt x="11178" y="2038"/>
                </a:cubicBezTo>
                <a:cubicBezTo>
                  <a:pt x="11421" y="1944"/>
                  <a:pt x="11543" y="1670"/>
                  <a:pt x="11449" y="1428"/>
                </a:cubicBezTo>
                <a:cubicBezTo>
                  <a:pt x="11374" y="1242"/>
                  <a:pt x="11197" y="1129"/>
                  <a:pt x="11010" y="1129"/>
                </a:cubicBezTo>
                <a:close/>
                <a:moveTo>
                  <a:pt x="23921" y="1478"/>
                </a:moveTo>
                <a:cubicBezTo>
                  <a:pt x="23743" y="1478"/>
                  <a:pt x="23571" y="1581"/>
                  <a:pt x="23492" y="1754"/>
                </a:cubicBezTo>
                <a:cubicBezTo>
                  <a:pt x="23384" y="1991"/>
                  <a:pt x="23487" y="2270"/>
                  <a:pt x="23726" y="2378"/>
                </a:cubicBezTo>
                <a:cubicBezTo>
                  <a:pt x="23789" y="2407"/>
                  <a:pt x="23855" y="2420"/>
                  <a:pt x="23920" y="2420"/>
                </a:cubicBezTo>
                <a:cubicBezTo>
                  <a:pt x="24097" y="2420"/>
                  <a:pt x="24269" y="2319"/>
                  <a:pt x="24349" y="2144"/>
                </a:cubicBezTo>
                <a:cubicBezTo>
                  <a:pt x="24457" y="1907"/>
                  <a:pt x="24351" y="1628"/>
                  <a:pt x="24116" y="1520"/>
                </a:cubicBezTo>
                <a:lnTo>
                  <a:pt x="24114" y="1520"/>
                </a:lnTo>
                <a:cubicBezTo>
                  <a:pt x="24052" y="1492"/>
                  <a:pt x="23986" y="1478"/>
                  <a:pt x="23921" y="1478"/>
                </a:cubicBezTo>
                <a:close/>
                <a:moveTo>
                  <a:pt x="9287" y="1920"/>
                </a:moveTo>
                <a:cubicBezTo>
                  <a:pt x="9212" y="1920"/>
                  <a:pt x="9136" y="1938"/>
                  <a:pt x="9066" y="1976"/>
                </a:cubicBezTo>
                <a:cubicBezTo>
                  <a:pt x="8833" y="2095"/>
                  <a:pt x="8747" y="2379"/>
                  <a:pt x="8870" y="2611"/>
                </a:cubicBezTo>
                <a:cubicBezTo>
                  <a:pt x="8955" y="2772"/>
                  <a:pt x="9119" y="2862"/>
                  <a:pt x="9287" y="2863"/>
                </a:cubicBezTo>
                <a:cubicBezTo>
                  <a:pt x="9362" y="2863"/>
                  <a:pt x="9438" y="2847"/>
                  <a:pt x="9507" y="2809"/>
                </a:cubicBezTo>
                <a:cubicBezTo>
                  <a:pt x="9740" y="2686"/>
                  <a:pt x="9826" y="2401"/>
                  <a:pt x="9703" y="2170"/>
                </a:cubicBezTo>
                <a:cubicBezTo>
                  <a:pt x="9618" y="2010"/>
                  <a:pt x="9455" y="1920"/>
                  <a:pt x="9287" y="1920"/>
                </a:cubicBezTo>
                <a:close/>
                <a:moveTo>
                  <a:pt x="25598" y="2359"/>
                </a:moveTo>
                <a:cubicBezTo>
                  <a:pt x="25438" y="2359"/>
                  <a:pt x="25282" y="2441"/>
                  <a:pt x="25193" y="2587"/>
                </a:cubicBezTo>
                <a:cubicBezTo>
                  <a:pt x="25058" y="2810"/>
                  <a:pt x="25131" y="3100"/>
                  <a:pt x="25353" y="3235"/>
                </a:cubicBezTo>
                <a:lnTo>
                  <a:pt x="25354" y="3235"/>
                </a:lnTo>
                <a:cubicBezTo>
                  <a:pt x="25430" y="3281"/>
                  <a:pt x="25512" y="3304"/>
                  <a:pt x="25595" y="3305"/>
                </a:cubicBezTo>
                <a:cubicBezTo>
                  <a:pt x="25756" y="3305"/>
                  <a:pt x="25914" y="3222"/>
                  <a:pt x="26002" y="3076"/>
                </a:cubicBezTo>
                <a:cubicBezTo>
                  <a:pt x="26136" y="2853"/>
                  <a:pt x="26064" y="2561"/>
                  <a:pt x="25843" y="2428"/>
                </a:cubicBezTo>
                <a:cubicBezTo>
                  <a:pt x="25766" y="2382"/>
                  <a:pt x="25681" y="2359"/>
                  <a:pt x="25598" y="2359"/>
                </a:cubicBezTo>
                <a:close/>
                <a:moveTo>
                  <a:pt x="7668" y="2899"/>
                </a:moveTo>
                <a:cubicBezTo>
                  <a:pt x="7575" y="2899"/>
                  <a:pt x="7482" y="2926"/>
                  <a:pt x="7399" y="2983"/>
                </a:cubicBezTo>
                <a:cubicBezTo>
                  <a:pt x="7185" y="3131"/>
                  <a:pt x="7132" y="3425"/>
                  <a:pt x="7281" y="3639"/>
                </a:cubicBezTo>
                <a:cubicBezTo>
                  <a:pt x="7371" y="3771"/>
                  <a:pt x="7515" y="3842"/>
                  <a:pt x="7665" y="3842"/>
                </a:cubicBezTo>
                <a:cubicBezTo>
                  <a:pt x="7666" y="3842"/>
                  <a:pt x="7668" y="3842"/>
                  <a:pt x="7669" y="3842"/>
                </a:cubicBezTo>
                <a:cubicBezTo>
                  <a:pt x="7760" y="3842"/>
                  <a:pt x="7851" y="3814"/>
                  <a:pt x="7935" y="3757"/>
                </a:cubicBezTo>
                <a:cubicBezTo>
                  <a:pt x="8149" y="3612"/>
                  <a:pt x="8204" y="3317"/>
                  <a:pt x="8058" y="3103"/>
                </a:cubicBezTo>
                <a:cubicBezTo>
                  <a:pt x="7965" y="2970"/>
                  <a:pt x="7818" y="2899"/>
                  <a:pt x="7668" y="2899"/>
                </a:cubicBezTo>
                <a:close/>
                <a:moveTo>
                  <a:pt x="27162" y="3429"/>
                </a:moveTo>
                <a:cubicBezTo>
                  <a:pt x="27020" y="3429"/>
                  <a:pt x="26879" y="3492"/>
                  <a:pt x="26787" y="3613"/>
                </a:cubicBezTo>
                <a:cubicBezTo>
                  <a:pt x="26628" y="3818"/>
                  <a:pt x="26667" y="4116"/>
                  <a:pt x="26872" y="4273"/>
                </a:cubicBezTo>
                <a:cubicBezTo>
                  <a:pt x="26958" y="4339"/>
                  <a:pt x="27057" y="4369"/>
                  <a:pt x="27152" y="4369"/>
                </a:cubicBezTo>
                <a:cubicBezTo>
                  <a:pt x="27154" y="4369"/>
                  <a:pt x="27156" y="4369"/>
                  <a:pt x="27159" y="4369"/>
                </a:cubicBezTo>
                <a:cubicBezTo>
                  <a:pt x="27301" y="4369"/>
                  <a:pt x="27440" y="4310"/>
                  <a:pt x="27535" y="4185"/>
                </a:cubicBezTo>
                <a:cubicBezTo>
                  <a:pt x="27692" y="3980"/>
                  <a:pt x="27654" y="3683"/>
                  <a:pt x="27447" y="3525"/>
                </a:cubicBezTo>
                <a:cubicBezTo>
                  <a:pt x="27362" y="3460"/>
                  <a:pt x="27262" y="3429"/>
                  <a:pt x="27162" y="3429"/>
                </a:cubicBezTo>
                <a:close/>
                <a:moveTo>
                  <a:pt x="6172" y="4059"/>
                </a:moveTo>
                <a:cubicBezTo>
                  <a:pt x="6062" y="4059"/>
                  <a:pt x="5951" y="4098"/>
                  <a:pt x="5862" y="4176"/>
                </a:cubicBezTo>
                <a:lnTo>
                  <a:pt x="5862" y="4175"/>
                </a:lnTo>
                <a:cubicBezTo>
                  <a:pt x="5664" y="4348"/>
                  <a:pt x="5643" y="4645"/>
                  <a:pt x="5816" y="4843"/>
                </a:cubicBezTo>
                <a:cubicBezTo>
                  <a:pt x="5907" y="4949"/>
                  <a:pt x="6039" y="5002"/>
                  <a:pt x="6173" y="5003"/>
                </a:cubicBezTo>
                <a:cubicBezTo>
                  <a:pt x="6281" y="5003"/>
                  <a:pt x="6393" y="4965"/>
                  <a:pt x="6481" y="4888"/>
                </a:cubicBezTo>
                <a:cubicBezTo>
                  <a:pt x="6677" y="4715"/>
                  <a:pt x="6699" y="4418"/>
                  <a:pt x="6526" y="4222"/>
                </a:cubicBezTo>
                <a:cubicBezTo>
                  <a:pt x="6434" y="4114"/>
                  <a:pt x="6303" y="4059"/>
                  <a:pt x="6172" y="4059"/>
                </a:cubicBezTo>
                <a:close/>
                <a:moveTo>
                  <a:pt x="28595" y="4666"/>
                </a:moveTo>
                <a:cubicBezTo>
                  <a:pt x="28472" y="4666"/>
                  <a:pt x="28349" y="4714"/>
                  <a:pt x="28258" y="4811"/>
                </a:cubicBezTo>
                <a:cubicBezTo>
                  <a:pt x="28076" y="4997"/>
                  <a:pt x="28082" y="5298"/>
                  <a:pt x="28267" y="5475"/>
                </a:cubicBezTo>
                <a:cubicBezTo>
                  <a:pt x="28358" y="5565"/>
                  <a:pt x="28476" y="5611"/>
                  <a:pt x="28593" y="5611"/>
                </a:cubicBezTo>
                <a:cubicBezTo>
                  <a:pt x="28716" y="5611"/>
                  <a:pt x="28842" y="5562"/>
                  <a:pt x="28933" y="5466"/>
                </a:cubicBezTo>
                <a:cubicBezTo>
                  <a:pt x="29115" y="5280"/>
                  <a:pt x="29109" y="4981"/>
                  <a:pt x="28921" y="4799"/>
                </a:cubicBezTo>
                <a:cubicBezTo>
                  <a:pt x="28831" y="4710"/>
                  <a:pt x="28713" y="4666"/>
                  <a:pt x="28595" y="4666"/>
                </a:cubicBezTo>
                <a:close/>
                <a:moveTo>
                  <a:pt x="4814" y="5381"/>
                </a:moveTo>
                <a:cubicBezTo>
                  <a:pt x="4686" y="5381"/>
                  <a:pt x="4559" y="5433"/>
                  <a:pt x="4467" y="5535"/>
                </a:cubicBezTo>
                <a:cubicBezTo>
                  <a:pt x="4291" y="5726"/>
                  <a:pt x="4303" y="6026"/>
                  <a:pt x="4496" y="6201"/>
                </a:cubicBezTo>
                <a:cubicBezTo>
                  <a:pt x="4584" y="6284"/>
                  <a:pt x="4701" y="6324"/>
                  <a:pt x="4813" y="6325"/>
                </a:cubicBezTo>
                <a:cubicBezTo>
                  <a:pt x="4940" y="6325"/>
                  <a:pt x="5068" y="6272"/>
                  <a:pt x="5164" y="6172"/>
                </a:cubicBezTo>
                <a:cubicBezTo>
                  <a:pt x="5338" y="5981"/>
                  <a:pt x="5326" y="5680"/>
                  <a:pt x="5133" y="5504"/>
                </a:cubicBezTo>
                <a:cubicBezTo>
                  <a:pt x="5042" y="5422"/>
                  <a:pt x="4928" y="5381"/>
                  <a:pt x="4814" y="5381"/>
                </a:cubicBezTo>
                <a:close/>
                <a:moveTo>
                  <a:pt x="29879" y="6062"/>
                </a:moveTo>
                <a:cubicBezTo>
                  <a:pt x="29774" y="6062"/>
                  <a:pt x="29668" y="6097"/>
                  <a:pt x="29580" y="6169"/>
                </a:cubicBezTo>
                <a:cubicBezTo>
                  <a:pt x="29376" y="6333"/>
                  <a:pt x="29349" y="6629"/>
                  <a:pt x="29513" y="6831"/>
                </a:cubicBezTo>
                <a:cubicBezTo>
                  <a:pt x="29608" y="6943"/>
                  <a:pt x="29744" y="7001"/>
                  <a:pt x="29877" y="7004"/>
                </a:cubicBezTo>
                <a:cubicBezTo>
                  <a:pt x="29982" y="7004"/>
                  <a:pt x="30088" y="6967"/>
                  <a:pt x="30178" y="6898"/>
                </a:cubicBezTo>
                <a:cubicBezTo>
                  <a:pt x="30378" y="6732"/>
                  <a:pt x="30407" y="6436"/>
                  <a:pt x="30241" y="6233"/>
                </a:cubicBezTo>
                <a:cubicBezTo>
                  <a:pt x="30149" y="6120"/>
                  <a:pt x="30015" y="6062"/>
                  <a:pt x="29879" y="6062"/>
                </a:cubicBezTo>
                <a:close/>
                <a:moveTo>
                  <a:pt x="3616" y="6848"/>
                </a:moveTo>
                <a:cubicBezTo>
                  <a:pt x="3470" y="6848"/>
                  <a:pt x="3326" y="6915"/>
                  <a:pt x="3233" y="7043"/>
                </a:cubicBezTo>
                <a:cubicBezTo>
                  <a:pt x="3080" y="7253"/>
                  <a:pt x="3127" y="7547"/>
                  <a:pt x="3339" y="7702"/>
                </a:cubicBezTo>
                <a:cubicBezTo>
                  <a:pt x="3417" y="7761"/>
                  <a:pt x="3509" y="7790"/>
                  <a:pt x="3603" y="7790"/>
                </a:cubicBezTo>
                <a:cubicBezTo>
                  <a:pt x="3608" y="7790"/>
                  <a:pt x="3612" y="7790"/>
                  <a:pt x="3617" y="7790"/>
                </a:cubicBezTo>
                <a:cubicBezTo>
                  <a:pt x="3763" y="7790"/>
                  <a:pt x="3907" y="7725"/>
                  <a:pt x="3998" y="7597"/>
                </a:cubicBezTo>
                <a:cubicBezTo>
                  <a:pt x="4150" y="7385"/>
                  <a:pt x="4104" y="7090"/>
                  <a:pt x="3893" y="6937"/>
                </a:cubicBezTo>
                <a:cubicBezTo>
                  <a:pt x="3809" y="6877"/>
                  <a:pt x="3712" y="6848"/>
                  <a:pt x="3616" y="6848"/>
                </a:cubicBezTo>
                <a:close/>
                <a:moveTo>
                  <a:pt x="30997" y="7588"/>
                </a:moveTo>
                <a:cubicBezTo>
                  <a:pt x="30909" y="7588"/>
                  <a:pt x="30820" y="7612"/>
                  <a:pt x="30741" y="7664"/>
                </a:cubicBezTo>
                <a:cubicBezTo>
                  <a:pt x="30521" y="7805"/>
                  <a:pt x="30457" y="8098"/>
                  <a:pt x="30598" y="8314"/>
                </a:cubicBezTo>
                <a:cubicBezTo>
                  <a:pt x="30688" y="8455"/>
                  <a:pt x="30838" y="8531"/>
                  <a:pt x="30994" y="8531"/>
                </a:cubicBezTo>
                <a:cubicBezTo>
                  <a:pt x="30996" y="8531"/>
                  <a:pt x="30997" y="8531"/>
                  <a:pt x="30999" y="8531"/>
                </a:cubicBezTo>
                <a:cubicBezTo>
                  <a:pt x="31087" y="8531"/>
                  <a:pt x="31173" y="8505"/>
                  <a:pt x="31254" y="8455"/>
                </a:cubicBezTo>
                <a:cubicBezTo>
                  <a:pt x="31471" y="8314"/>
                  <a:pt x="31534" y="8022"/>
                  <a:pt x="31392" y="7802"/>
                </a:cubicBezTo>
                <a:cubicBezTo>
                  <a:pt x="31301" y="7664"/>
                  <a:pt x="31151" y="7588"/>
                  <a:pt x="30997" y="7588"/>
                </a:cubicBezTo>
                <a:close/>
                <a:moveTo>
                  <a:pt x="2592" y="8445"/>
                </a:moveTo>
                <a:cubicBezTo>
                  <a:pt x="2429" y="8445"/>
                  <a:pt x="2269" y="8531"/>
                  <a:pt x="2183" y="8684"/>
                </a:cubicBezTo>
                <a:cubicBezTo>
                  <a:pt x="2052" y="8910"/>
                  <a:pt x="2133" y="9198"/>
                  <a:pt x="2359" y="9327"/>
                </a:cubicBezTo>
                <a:cubicBezTo>
                  <a:pt x="2432" y="9367"/>
                  <a:pt x="2512" y="9387"/>
                  <a:pt x="2591" y="9387"/>
                </a:cubicBezTo>
                <a:cubicBezTo>
                  <a:pt x="2755" y="9387"/>
                  <a:pt x="2914" y="9303"/>
                  <a:pt x="3002" y="9148"/>
                </a:cubicBezTo>
                <a:lnTo>
                  <a:pt x="3002" y="9147"/>
                </a:lnTo>
                <a:cubicBezTo>
                  <a:pt x="3131" y="8921"/>
                  <a:pt x="3049" y="8632"/>
                  <a:pt x="2823" y="8506"/>
                </a:cubicBezTo>
                <a:cubicBezTo>
                  <a:pt x="2750" y="8465"/>
                  <a:pt x="2671" y="8445"/>
                  <a:pt x="2592" y="8445"/>
                </a:cubicBezTo>
                <a:close/>
                <a:moveTo>
                  <a:pt x="31931" y="9234"/>
                </a:moveTo>
                <a:cubicBezTo>
                  <a:pt x="31860" y="9234"/>
                  <a:pt x="31789" y="9250"/>
                  <a:pt x="31721" y="9283"/>
                </a:cubicBezTo>
                <a:cubicBezTo>
                  <a:pt x="31489" y="9399"/>
                  <a:pt x="31393" y="9683"/>
                  <a:pt x="31509" y="9915"/>
                </a:cubicBezTo>
                <a:cubicBezTo>
                  <a:pt x="31591" y="10080"/>
                  <a:pt x="31758" y="10177"/>
                  <a:pt x="31931" y="10177"/>
                </a:cubicBezTo>
                <a:cubicBezTo>
                  <a:pt x="32002" y="10177"/>
                  <a:pt x="32073" y="10161"/>
                  <a:pt x="32142" y="10127"/>
                </a:cubicBezTo>
                <a:cubicBezTo>
                  <a:pt x="32374" y="10012"/>
                  <a:pt x="32469" y="9731"/>
                  <a:pt x="32354" y="9497"/>
                </a:cubicBezTo>
                <a:lnTo>
                  <a:pt x="32354" y="9496"/>
                </a:lnTo>
                <a:cubicBezTo>
                  <a:pt x="32271" y="9330"/>
                  <a:pt x="32104" y="9234"/>
                  <a:pt x="31931" y="9234"/>
                </a:cubicBezTo>
                <a:close/>
                <a:moveTo>
                  <a:pt x="1758" y="10142"/>
                </a:moveTo>
                <a:cubicBezTo>
                  <a:pt x="1573" y="10142"/>
                  <a:pt x="1397" y="10251"/>
                  <a:pt x="1321" y="10431"/>
                </a:cubicBezTo>
                <a:cubicBezTo>
                  <a:pt x="1220" y="10672"/>
                  <a:pt x="1333" y="10950"/>
                  <a:pt x="1574" y="11050"/>
                </a:cubicBezTo>
                <a:cubicBezTo>
                  <a:pt x="1632" y="11076"/>
                  <a:pt x="1697" y="11088"/>
                  <a:pt x="1758" y="11088"/>
                </a:cubicBezTo>
                <a:cubicBezTo>
                  <a:pt x="1941" y="11088"/>
                  <a:pt x="2116" y="10980"/>
                  <a:pt x="2192" y="10798"/>
                </a:cubicBezTo>
                <a:cubicBezTo>
                  <a:pt x="2292" y="10558"/>
                  <a:pt x="2181" y="10279"/>
                  <a:pt x="1940" y="10179"/>
                </a:cubicBezTo>
                <a:cubicBezTo>
                  <a:pt x="1880" y="10154"/>
                  <a:pt x="1819" y="10142"/>
                  <a:pt x="1758" y="10142"/>
                </a:cubicBezTo>
                <a:close/>
                <a:moveTo>
                  <a:pt x="32672" y="10978"/>
                </a:moveTo>
                <a:cubicBezTo>
                  <a:pt x="32619" y="10978"/>
                  <a:pt x="32566" y="10987"/>
                  <a:pt x="32513" y="11006"/>
                </a:cubicBezTo>
                <a:cubicBezTo>
                  <a:pt x="32268" y="11094"/>
                  <a:pt x="32142" y="11364"/>
                  <a:pt x="32228" y="11610"/>
                </a:cubicBezTo>
                <a:cubicBezTo>
                  <a:pt x="32297" y="11799"/>
                  <a:pt x="32475" y="11920"/>
                  <a:pt x="32666" y="11920"/>
                </a:cubicBezTo>
                <a:cubicBezTo>
                  <a:pt x="32667" y="11920"/>
                  <a:pt x="32669" y="11920"/>
                  <a:pt x="32670" y="11920"/>
                </a:cubicBezTo>
                <a:cubicBezTo>
                  <a:pt x="32726" y="11920"/>
                  <a:pt x="32781" y="11911"/>
                  <a:pt x="32832" y="11892"/>
                </a:cubicBezTo>
                <a:cubicBezTo>
                  <a:pt x="33076" y="11804"/>
                  <a:pt x="33204" y="11536"/>
                  <a:pt x="33116" y="11291"/>
                </a:cubicBezTo>
                <a:cubicBezTo>
                  <a:pt x="33046" y="11098"/>
                  <a:pt x="32865" y="10978"/>
                  <a:pt x="32672" y="10978"/>
                </a:cubicBezTo>
                <a:close/>
                <a:moveTo>
                  <a:pt x="1122" y="11930"/>
                </a:moveTo>
                <a:cubicBezTo>
                  <a:pt x="920" y="11930"/>
                  <a:pt x="731" y="12064"/>
                  <a:pt x="668" y="12270"/>
                </a:cubicBezTo>
                <a:cubicBezTo>
                  <a:pt x="598" y="12521"/>
                  <a:pt x="738" y="12780"/>
                  <a:pt x="988" y="12855"/>
                </a:cubicBezTo>
                <a:cubicBezTo>
                  <a:pt x="1032" y="12865"/>
                  <a:pt x="1078" y="12873"/>
                  <a:pt x="1120" y="12873"/>
                </a:cubicBezTo>
                <a:cubicBezTo>
                  <a:pt x="1325" y="12873"/>
                  <a:pt x="1515" y="12738"/>
                  <a:pt x="1576" y="12533"/>
                </a:cubicBezTo>
                <a:cubicBezTo>
                  <a:pt x="1647" y="12283"/>
                  <a:pt x="1504" y="12021"/>
                  <a:pt x="1252" y="11949"/>
                </a:cubicBezTo>
                <a:cubicBezTo>
                  <a:pt x="1209" y="11936"/>
                  <a:pt x="1165" y="11930"/>
                  <a:pt x="1122" y="11930"/>
                </a:cubicBezTo>
                <a:close/>
                <a:moveTo>
                  <a:pt x="33206" y="12794"/>
                </a:moveTo>
                <a:cubicBezTo>
                  <a:pt x="33171" y="12794"/>
                  <a:pt x="33136" y="12798"/>
                  <a:pt x="33101" y="12806"/>
                </a:cubicBezTo>
                <a:cubicBezTo>
                  <a:pt x="32847" y="12865"/>
                  <a:pt x="32689" y="13120"/>
                  <a:pt x="32749" y="13372"/>
                </a:cubicBezTo>
                <a:cubicBezTo>
                  <a:pt x="32802" y="13591"/>
                  <a:pt x="32995" y="13738"/>
                  <a:pt x="33207" y="13738"/>
                </a:cubicBezTo>
                <a:cubicBezTo>
                  <a:pt x="33242" y="13738"/>
                  <a:pt x="33277" y="13732"/>
                  <a:pt x="33315" y="13723"/>
                </a:cubicBezTo>
                <a:cubicBezTo>
                  <a:pt x="33568" y="13664"/>
                  <a:pt x="33725" y="13412"/>
                  <a:pt x="33667" y="13158"/>
                </a:cubicBezTo>
                <a:cubicBezTo>
                  <a:pt x="33616" y="12940"/>
                  <a:pt x="33420" y="12794"/>
                  <a:pt x="33206" y="12794"/>
                </a:cubicBezTo>
                <a:close/>
                <a:moveTo>
                  <a:pt x="698" y="13774"/>
                </a:moveTo>
                <a:cubicBezTo>
                  <a:pt x="473" y="13774"/>
                  <a:pt x="273" y="13936"/>
                  <a:pt x="232" y="14168"/>
                </a:cubicBezTo>
                <a:cubicBezTo>
                  <a:pt x="190" y="14423"/>
                  <a:pt x="363" y="14665"/>
                  <a:pt x="619" y="14711"/>
                </a:cubicBezTo>
                <a:cubicBezTo>
                  <a:pt x="644" y="14717"/>
                  <a:pt x="671" y="14719"/>
                  <a:pt x="697" y="14719"/>
                </a:cubicBezTo>
                <a:cubicBezTo>
                  <a:pt x="923" y="14719"/>
                  <a:pt x="1123" y="14556"/>
                  <a:pt x="1161" y="14324"/>
                </a:cubicBezTo>
                <a:cubicBezTo>
                  <a:pt x="1205" y="14069"/>
                  <a:pt x="1034" y="13826"/>
                  <a:pt x="776" y="13781"/>
                </a:cubicBezTo>
                <a:cubicBezTo>
                  <a:pt x="750" y="13776"/>
                  <a:pt x="724" y="13774"/>
                  <a:pt x="698" y="13774"/>
                </a:cubicBezTo>
                <a:close/>
                <a:moveTo>
                  <a:pt x="33534" y="14659"/>
                </a:moveTo>
                <a:cubicBezTo>
                  <a:pt x="33516" y="14659"/>
                  <a:pt x="33498" y="14660"/>
                  <a:pt x="33480" y="14662"/>
                </a:cubicBezTo>
                <a:cubicBezTo>
                  <a:pt x="33221" y="14693"/>
                  <a:pt x="33034" y="14926"/>
                  <a:pt x="33064" y="15186"/>
                </a:cubicBezTo>
                <a:cubicBezTo>
                  <a:pt x="33093" y="15427"/>
                  <a:pt x="33297" y="15603"/>
                  <a:pt x="33535" y="15605"/>
                </a:cubicBezTo>
                <a:cubicBezTo>
                  <a:pt x="33553" y="15605"/>
                  <a:pt x="33571" y="15600"/>
                  <a:pt x="33591" y="15599"/>
                </a:cubicBezTo>
                <a:cubicBezTo>
                  <a:pt x="33849" y="15570"/>
                  <a:pt x="34033" y="15338"/>
                  <a:pt x="34002" y="15077"/>
                </a:cubicBezTo>
                <a:cubicBezTo>
                  <a:pt x="33975" y="14835"/>
                  <a:pt x="33771" y="14659"/>
                  <a:pt x="33534" y="14659"/>
                </a:cubicBezTo>
                <a:close/>
                <a:moveTo>
                  <a:pt x="483" y="15657"/>
                </a:moveTo>
                <a:cubicBezTo>
                  <a:pt x="235" y="15657"/>
                  <a:pt x="27" y="15850"/>
                  <a:pt x="14" y="16104"/>
                </a:cubicBezTo>
                <a:cubicBezTo>
                  <a:pt x="0" y="16364"/>
                  <a:pt x="197" y="16584"/>
                  <a:pt x="457" y="16601"/>
                </a:cubicBezTo>
                <a:lnTo>
                  <a:pt x="483" y="16601"/>
                </a:lnTo>
                <a:cubicBezTo>
                  <a:pt x="733" y="16601"/>
                  <a:pt x="941" y="16406"/>
                  <a:pt x="955" y="16156"/>
                </a:cubicBezTo>
                <a:cubicBezTo>
                  <a:pt x="968" y="15898"/>
                  <a:pt x="771" y="15673"/>
                  <a:pt x="509" y="15658"/>
                </a:cubicBezTo>
                <a:cubicBezTo>
                  <a:pt x="500" y="15658"/>
                  <a:pt x="492" y="15657"/>
                  <a:pt x="483" y="15657"/>
                </a:cubicBezTo>
                <a:close/>
                <a:moveTo>
                  <a:pt x="33641" y="16550"/>
                </a:moveTo>
                <a:cubicBezTo>
                  <a:pt x="33383" y="16550"/>
                  <a:pt x="33171" y="16763"/>
                  <a:pt x="33174" y="17022"/>
                </a:cubicBezTo>
                <a:lnTo>
                  <a:pt x="33174" y="17039"/>
                </a:lnTo>
                <a:lnTo>
                  <a:pt x="33174" y="17059"/>
                </a:lnTo>
                <a:cubicBezTo>
                  <a:pt x="33174" y="17317"/>
                  <a:pt x="33383" y="17529"/>
                  <a:pt x="33644" y="17531"/>
                </a:cubicBezTo>
                <a:cubicBezTo>
                  <a:pt x="33904" y="17531"/>
                  <a:pt x="34116" y="17318"/>
                  <a:pt x="34116" y="17059"/>
                </a:cubicBezTo>
                <a:lnTo>
                  <a:pt x="34116" y="17039"/>
                </a:lnTo>
                <a:lnTo>
                  <a:pt x="34116" y="17022"/>
                </a:lnTo>
                <a:cubicBezTo>
                  <a:pt x="34115" y="16760"/>
                  <a:pt x="33904" y="16550"/>
                  <a:pt x="33641" y="16550"/>
                </a:cubicBezTo>
                <a:close/>
                <a:moveTo>
                  <a:pt x="485" y="17551"/>
                </a:moveTo>
                <a:cubicBezTo>
                  <a:pt x="477" y="17551"/>
                  <a:pt x="469" y="17552"/>
                  <a:pt x="460" y="17552"/>
                </a:cubicBezTo>
                <a:cubicBezTo>
                  <a:pt x="197" y="17567"/>
                  <a:pt x="0" y="17789"/>
                  <a:pt x="14" y="18050"/>
                </a:cubicBezTo>
                <a:lnTo>
                  <a:pt x="14" y="18050"/>
                </a:lnTo>
                <a:lnTo>
                  <a:pt x="14" y="18048"/>
                </a:lnTo>
                <a:cubicBezTo>
                  <a:pt x="31" y="18300"/>
                  <a:pt x="240" y="18495"/>
                  <a:pt x="484" y="18495"/>
                </a:cubicBezTo>
                <a:lnTo>
                  <a:pt x="513" y="18495"/>
                </a:lnTo>
                <a:cubicBezTo>
                  <a:pt x="773" y="18479"/>
                  <a:pt x="970" y="18258"/>
                  <a:pt x="956" y="17997"/>
                </a:cubicBezTo>
                <a:cubicBezTo>
                  <a:pt x="942" y="17744"/>
                  <a:pt x="734" y="17551"/>
                  <a:pt x="485" y="17551"/>
                </a:cubicBezTo>
                <a:close/>
                <a:moveTo>
                  <a:pt x="33537" y="18477"/>
                </a:moveTo>
                <a:cubicBezTo>
                  <a:pt x="33299" y="18477"/>
                  <a:pt x="33096" y="18652"/>
                  <a:pt x="33069" y="18895"/>
                </a:cubicBezTo>
                <a:cubicBezTo>
                  <a:pt x="33039" y="19155"/>
                  <a:pt x="33224" y="19389"/>
                  <a:pt x="33485" y="19416"/>
                </a:cubicBezTo>
                <a:cubicBezTo>
                  <a:pt x="33503" y="19419"/>
                  <a:pt x="33520" y="19420"/>
                  <a:pt x="33539" y="19420"/>
                </a:cubicBezTo>
                <a:cubicBezTo>
                  <a:pt x="33775" y="19420"/>
                  <a:pt x="33980" y="19241"/>
                  <a:pt x="34005" y="19002"/>
                </a:cubicBezTo>
                <a:cubicBezTo>
                  <a:pt x="34036" y="18744"/>
                  <a:pt x="33851" y="18508"/>
                  <a:pt x="33591" y="18479"/>
                </a:cubicBezTo>
                <a:cubicBezTo>
                  <a:pt x="33573" y="18477"/>
                  <a:pt x="33555" y="18477"/>
                  <a:pt x="33537" y="18477"/>
                </a:cubicBezTo>
                <a:close/>
                <a:moveTo>
                  <a:pt x="706" y="19431"/>
                </a:moveTo>
                <a:cubicBezTo>
                  <a:pt x="679" y="19431"/>
                  <a:pt x="652" y="19434"/>
                  <a:pt x="624" y="19439"/>
                </a:cubicBezTo>
                <a:cubicBezTo>
                  <a:pt x="367" y="19484"/>
                  <a:pt x="194" y="19727"/>
                  <a:pt x="240" y="19984"/>
                </a:cubicBezTo>
                <a:cubicBezTo>
                  <a:pt x="276" y="20213"/>
                  <a:pt x="477" y="20375"/>
                  <a:pt x="704" y="20377"/>
                </a:cubicBezTo>
                <a:cubicBezTo>
                  <a:pt x="729" y="20377"/>
                  <a:pt x="756" y="20372"/>
                  <a:pt x="785" y="20369"/>
                </a:cubicBezTo>
                <a:cubicBezTo>
                  <a:pt x="1041" y="20324"/>
                  <a:pt x="1214" y="20082"/>
                  <a:pt x="1169" y="19824"/>
                </a:cubicBezTo>
                <a:cubicBezTo>
                  <a:pt x="1128" y="19594"/>
                  <a:pt x="930" y="19431"/>
                  <a:pt x="706" y="19431"/>
                </a:cubicBezTo>
                <a:close/>
                <a:moveTo>
                  <a:pt x="33216" y="20345"/>
                </a:moveTo>
                <a:cubicBezTo>
                  <a:pt x="33002" y="20345"/>
                  <a:pt x="32809" y="20491"/>
                  <a:pt x="32758" y="20709"/>
                </a:cubicBezTo>
                <a:cubicBezTo>
                  <a:pt x="32699" y="20963"/>
                  <a:pt x="32856" y="21214"/>
                  <a:pt x="33108" y="21274"/>
                </a:cubicBezTo>
                <a:cubicBezTo>
                  <a:pt x="33146" y="21283"/>
                  <a:pt x="33183" y="21286"/>
                  <a:pt x="33216" y="21286"/>
                </a:cubicBezTo>
                <a:cubicBezTo>
                  <a:pt x="33432" y="21286"/>
                  <a:pt x="33624" y="21139"/>
                  <a:pt x="33674" y="20923"/>
                </a:cubicBezTo>
                <a:cubicBezTo>
                  <a:pt x="33732" y="20668"/>
                  <a:pt x="33576" y="20415"/>
                  <a:pt x="33322" y="20357"/>
                </a:cubicBezTo>
                <a:cubicBezTo>
                  <a:pt x="33287" y="20349"/>
                  <a:pt x="33251" y="20345"/>
                  <a:pt x="33216" y="20345"/>
                </a:cubicBezTo>
                <a:close/>
                <a:moveTo>
                  <a:pt x="1135" y="21278"/>
                </a:moveTo>
                <a:cubicBezTo>
                  <a:pt x="1090" y="21278"/>
                  <a:pt x="1044" y="21284"/>
                  <a:pt x="999" y="21298"/>
                </a:cubicBezTo>
                <a:cubicBezTo>
                  <a:pt x="748" y="21371"/>
                  <a:pt x="606" y="21632"/>
                  <a:pt x="680" y="21882"/>
                </a:cubicBezTo>
                <a:cubicBezTo>
                  <a:pt x="741" y="22087"/>
                  <a:pt x="926" y="22219"/>
                  <a:pt x="1131" y="22221"/>
                </a:cubicBezTo>
                <a:cubicBezTo>
                  <a:pt x="1175" y="22221"/>
                  <a:pt x="1219" y="22216"/>
                  <a:pt x="1264" y="22201"/>
                </a:cubicBezTo>
                <a:cubicBezTo>
                  <a:pt x="1515" y="22130"/>
                  <a:pt x="1659" y="21867"/>
                  <a:pt x="1585" y="21617"/>
                </a:cubicBezTo>
                <a:cubicBezTo>
                  <a:pt x="1524" y="21412"/>
                  <a:pt x="1338" y="21278"/>
                  <a:pt x="1135" y="21278"/>
                </a:cubicBezTo>
                <a:close/>
                <a:moveTo>
                  <a:pt x="32684" y="22162"/>
                </a:moveTo>
                <a:cubicBezTo>
                  <a:pt x="32490" y="22162"/>
                  <a:pt x="32308" y="22282"/>
                  <a:pt x="32240" y="22474"/>
                </a:cubicBezTo>
                <a:cubicBezTo>
                  <a:pt x="32152" y="22722"/>
                  <a:pt x="32280" y="22990"/>
                  <a:pt x="32524" y="23078"/>
                </a:cubicBezTo>
                <a:cubicBezTo>
                  <a:pt x="32579" y="23095"/>
                  <a:pt x="32630" y="23104"/>
                  <a:pt x="32683" y="23107"/>
                </a:cubicBezTo>
                <a:cubicBezTo>
                  <a:pt x="32878" y="23107"/>
                  <a:pt x="33060" y="22987"/>
                  <a:pt x="33128" y="22793"/>
                </a:cubicBezTo>
                <a:cubicBezTo>
                  <a:pt x="33215" y="22549"/>
                  <a:pt x="33087" y="22277"/>
                  <a:pt x="32843" y="22190"/>
                </a:cubicBezTo>
                <a:cubicBezTo>
                  <a:pt x="32790" y="22171"/>
                  <a:pt x="32737" y="22162"/>
                  <a:pt x="32684" y="22162"/>
                </a:cubicBezTo>
                <a:close/>
                <a:moveTo>
                  <a:pt x="1767" y="23059"/>
                </a:moveTo>
                <a:cubicBezTo>
                  <a:pt x="1706" y="23059"/>
                  <a:pt x="1644" y="23071"/>
                  <a:pt x="1585" y="23095"/>
                </a:cubicBezTo>
                <a:cubicBezTo>
                  <a:pt x="1345" y="23200"/>
                  <a:pt x="1234" y="23474"/>
                  <a:pt x="1334" y="23716"/>
                </a:cubicBezTo>
                <a:cubicBezTo>
                  <a:pt x="1412" y="23896"/>
                  <a:pt x="1586" y="24004"/>
                  <a:pt x="1768" y="24004"/>
                </a:cubicBezTo>
                <a:cubicBezTo>
                  <a:pt x="1829" y="24004"/>
                  <a:pt x="1894" y="23992"/>
                  <a:pt x="1953" y="23966"/>
                </a:cubicBezTo>
                <a:cubicBezTo>
                  <a:pt x="2193" y="23863"/>
                  <a:pt x="2306" y="23585"/>
                  <a:pt x="2205" y="23347"/>
                </a:cubicBezTo>
                <a:cubicBezTo>
                  <a:pt x="2127" y="23166"/>
                  <a:pt x="1951" y="23059"/>
                  <a:pt x="1767" y="23059"/>
                </a:cubicBezTo>
                <a:close/>
                <a:moveTo>
                  <a:pt x="31947" y="23906"/>
                </a:moveTo>
                <a:cubicBezTo>
                  <a:pt x="31773" y="23906"/>
                  <a:pt x="31605" y="24003"/>
                  <a:pt x="31522" y="24170"/>
                </a:cubicBezTo>
                <a:cubicBezTo>
                  <a:pt x="31407" y="24405"/>
                  <a:pt x="31504" y="24686"/>
                  <a:pt x="31736" y="24801"/>
                </a:cubicBezTo>
                <a:cubicBezTo>
                  <a:pt x="31805" y="24833"/>
                  <a:pt x="31876" y="24849"/>
                  <a:pt x="31944" y="24849"/>
                </a:cubicBezTo>
                <a:cubicBezTo>
                  <a:pt x="32119" y="24849"/>
                  <a:pt x="32286" y="24754"/>
                  <a:pt x="32369" y="24587"/>
                </a:cubicBezTo>
                <a:cubicBezTo>
                  <a:pt x="32485" y="24353"/>
                  <a:pt x="32387" y="24071"/>
                  <a:pt x="32154" y="23954"/>
                </a:cubicBezTo>
                <a:cubicBezTo>
                  <a:pt x="32087" y="23921"/>
                  <a:pt x="32017" y="23906"/>
                  <a:pt x="31947" y="23906"/>
                </a:cubicBezTo>
                <a:close/>
                <a:moveTo>
                  <a:pt x="2606" y="24757"/>
                </a:moveTo>
                <a:cubicBezTo>
                  <a:pt x="2527" y="24757"/>
                  <a:pt x="2447" y="24777"/>
                  <a:pt x="2374" y="24819"/>
                </a:cubicBezTo>
                <a:cubicBezTo>
                  <a:pt x="2148" y="24947"/>
                  <a:pt x="2069" y="25235"/>
                  <a:pt x="2198" y="25461"/>
                </a:cubicBezTo>
                <a:cubicBezTo>
                  <a:pt x="2284" y="25614"/>
                  <a:pt x="2444" y="25702"/>
                  <a:pt x="2608" y="25702"/>
                </a:cubicBezTo>
                <a:cubicBezTo>
                  <a:pt x="2685" y="25702"/>
                  <a:pt x="2765" y="25680"/>
                  <a:pt x="2841" y="25637"/>
                </a:cubicBezTo>
                <a:cubicBezTo>
                  <a:pt x="3064" y="25510"/>
                  <a:pt x="3145" y="25221"/>
                  <a:pt x="3017" y="24997"/>
                </a:cubicBezTo>
                <a:cubicBezTo>
                  <a:pt x="2930" y="24844"/>
                  <a:pt x="2770" y="24757"/>
                  <a:pt x="2606" y="24757"/>
                </a:cubicBezTo>
                <a:close/>
                <a:moveTo>
                  <a:pt x="31013" y="25555"/>
                </a:moveTo>
                <a:cubicBezTo>
                  <a:pt x="30857" y="25555"/>
                  <a:pt x="30706" y="25631"/>
                  <a:pt x="30618" y="25772"/>
                </a:cubicBezTo>
                <a:cubicBezTo>
                  <a:pt x="30475" y="25992"/>
                  <a:pt x="30536" y="26281"/>
                  <a:pt x="30756" y="26423"/>
                </a:cubicBezTo>
                <a:cubicBezTo>
                  <a:pt x="30832" y="26471"/>
                  <a:pt x="30914" y="26496"/>
                  <a:pt x="30998" y="26496"/>
                </a:cubicBezTo>
                <a:cubicBezTo>
                  <a:pt x="31003" y="26496"/>
                  <a:pt x="31008" y="26496"/>
                  <a:pt x="31012" y="26496"/>
                </a:cubicBezTo>
                <a:cubicBezTo>
                  <a:pt x="31167" y="26496"/>
                  <a:pt x="31322" y="26423"/>
                  <a:pt x="31410" y="26281"/>
                </a:cubicBezTo>
                <a:cubicBezTo>
                  <a:pt x="31551" y="26064"/>
                  <a:pt x="31489" y="25772"/>
                  <a:pt x="31269" y="25630"/>
                </a:cubicBezTo>
                <a:cubicBezTo>
                  <a:pt x="31189" y="25579"/>
                  <a:pt x="31100" y="25555"/>
                  <a:pt x="31013" y="25555"/>
                </a:cubicBezTo>
                <a:close/>
                <a:moveTo>
                  <a:pt x="3633" y="26349"/>
                </a:moveTo>
                <a:cubicBezTo>
                  <a:pt x="3537" y="26349"/>
                  <a:pt x="3439" y="26379"/>
                  <a:pt x="3354" y="26440"/>
                </a:cubicBezTo>
                <a:cubicBezTo>
                  <a:pt x="3146" y="26593"/>
                  <a:pt x="3101" y="26888"/>
                  <a:pt x="3254" y="27099"/>
                </a:cubicBezTo>
                <a:cubicBezTo>
                  <a:pt x="3347" y="27225"/>
                  <a:pt x="3489" y="27290"/>
                  <a:pt x="3632" y="27292"/>
                </a:cubicBezTo>
                <a:cubicBezTo>
                  <a:pt x="3729" y="27292"/>
                  <a:pt x="3825" y="27263"/>
                  <a:pt x="3911" y="27202"/>
                </a:cubicBezTo>
                <a:cubicBezTo>
                  <a:pt x="4121" y="27049"/>
                  <a:pt x="4168" y="26754"/>
                  <a:pt x="4015" y="26545"/>
                </a:cubicBezTo>
                <a:cubicBezTo>
                  <a:pt x="3922" y="26417"/>
                  <a:pt x="3779" y="26349"/>
                  <a:pt x="3633" y="26349"/>
                </a:cubicBezTo>
                <a:close/>
                <a:moveTo>
                  <a:pt x="29899" y="27086"/>
                </a:moveTo>
                <a:cubicBezTo>
                  <a:pt x="29762" y="27086"/>
                  <a:pt x="29626" y="27145"/>
                  <a:pt x="29533" y="27260"/>
                </a:cubicBezTo>
                <a:cubicBezTo>
                  <a:pt x="29367" y="27463"/>
                  <a:pt x="29397" y="27760"/>
                  <a:pt x="29599" y="27926"/>
                </a:cubicBezTo>
                <a:cubicBezTo>
                  <a:pt x="29684" y="27993"/>
                  <a:pt x="29785" y="28029"/>
                  <a:pt x="29886" y="28029"/>
                </a:cubicBezTo>
                <a:cubicBezTo>
                  <a:pt x="29890" y="28029"/>
                  <a:pt x="29894" y="28029"/>
                  <a:pt x="29898" y="28029"/>
                </a:cubicBezTo>
                <a:cubicBezTo>
                  <a:pt x="30035" y="28029"/>
                  <a:pt x="30170" y="27970"/>
                  <a:pt x="30264" y="27856"/>
                </a:cubicBezTo>
                <a:cubicBezTo>
                  <a:pt x="30430" y="27656"/>
                  <a:pt x="30399" y="27358"/>
                  <a:pt x="30199" y="27193"/>
                </a:cubicBezTo>
                <a:cubicBezTo>
                  <a:pt x="30111" y="27121"/>
                  <a:pt x="30004" y="27086"/>
                  <a:pt x="29899" y="27086"/>
                </a:cubicBezTo>
                <a:close/>
                <a:moveTo>
                  <a:pt x="4834" y="27814"/>
                </a:moveTo>
                <a:cubicBezTo>
                  <a:pt x="4720" y="27814"/>
                  <a:pt x="4606" y="27854"/>
                  <a:pt x="4515" y="27937"/>
                </a:cubicBezTo>
                <a:cubicBezTo>
                  <a:pt x="4324" y="28113"/>
                  <a:pt x="4311" y="28413"/>
                  <a:pt x="4488" y="28604"/>
                </a:cubicBezTo>
                <a:cubicBezTo>
                  <a:pt x="4582" y="28705"/>
                  <a:pt x="4708" y="28758"/>
                  <a:pt x="4833" y="28758"/>
                </a:cubicBezTo>
                <a:cubicBezTo>
                  <a:pt x="4948" y="28758"/>
                  <a:pt x="5062" y="28715"/>
                  <a:pt x="5153" y="28633"/>
                </a:cubicBezTo>
                <a:cubicBezTo>
                  <a:pt x="5346" y="28454"/>
                  <a:pt x="5356" y="28158"/>
                  <a:pt x="5180" y="27967"/>
                </a:cubicBezTo>
                <a:cubicBezTo>
                  <a:pt x="5088" y="27865"/>
                  <a:pt x="4961" y="27814"/>
                  <a:pt x="4834" y="27814"/>
                </a:cubicBezTo>
                <a:close/>
                <a:moveTo>
                  <a:pt x="28617" y="28483"/>
                </a:moveTo>
                <a:cubicBezTo>
                  <a:pt x="28499" y="28483"/>
                  <a:pt x="28380" y="28527"/>
                  <a:pt x="28288" y="28616"/>
                </a:cubicBezTo>
                <a:cubicBezTo>
                  <a:pt x="28101" y="28799"/>
                  <a:pt x="28097" y="29098"/>
                  <a:pt x="28279" y="29284"/>
                </a:cubicBezTo>
                <a:cubicBezTo>
                  <a:pt x="28373" y="29377"/>
                  <a:pt x="28494" y="29425"/>
                  <a:pt x="28617" y="29428"/>
                </a:cubicBezTo>
                <a:cubicBezTo>
                  <a:pt x="28736" y="29428"/>
                  <a:pt x="28854" y="29383"/>
                  <a:pt x="28947" y="29293"/>
                </a:cubicBezTo>
                <a:cubicBezTo>
                  <a:pt x="29132" y="29111"/>
                  <a:pt x="29138" y="28811"/>
                  <a:pt x="28956" y="28626"/>
                </a:cubicBezTo>
                <a:cubicBezTo>
                  <a:pt x="28863" y="28531"/>
                  <a:pt x="28740" y="28483"/>
                  <a:pt x="28617" y="28483"/>
                </a:cubicBezTo>
                <a:close/>
                <a:moveTo>
                  <a:pt x="6193" y="29134"/>
                </a:moveTo>
                <a:cubicBezTo>
                  <a:pt x="6061" y="29134"/>
                  <a:pt x="5931" y="29188"/>
                  <a:pt x="5839" y="29295"/>
                </a:cubicBezTo>
                <a:cubicBezTo>
                  <a:pt x="5666" y="29494"/>
                  <a:pt x="5689" y="29790"/>
                  <a:pt x="5886" y="29963"/>
                </a:cubicBezTo>
                <a:cubicBezTo>
                  <a:pt x="5976" y="30037"/>
                  <a:pt x="6083" y="30075"/>
                  <a:pt x="6193" y="30075"/>
                </a:cubicBezTo>
                <a:cubicBezTo>
                  <a:pt x="6326" y="30075"/>
                  <a:pt x="6455" y="30020"/>
                  <a:pt x="6549" y="29911"/>
                </a:cubicBezTo>
                <a:cubicBezTo>
                  <a:pt x="6719" y="29717"/>
                  <a:pt x="6698" y="29416"/>
                  <a:pt x="6502" y="29248"/>
                </a:cubicBezTo>
                <a:cubicBezTo>
                  <a:pt x="6413" y="29171"/>
                  <a:pt x="6302" y="29134"/>
                  <a:pt x="6193" y="29134"/>
                </a:cubicBezTo>
                <a:close/>
                <a:moveTo>
                  <a:pt x="27189" y="29724"/>
                </a:moveTo>
                <a:cubicBezTo>
                  <a:pt x="27087" y="29724"/>
                  <a:pt x="26985" y="29756"/>
                  <a:pt x="26899" y="29823"/>
                </a:cubicBezTo>
                <a:cubicBezTo>
                  <a:pt x="26690" y="29979"/>
                  <a:pt x="26652" y="30278"/>
                  <a:pt x="26814" y="30483"/>
                </a:cubicBezTo>
                <a:cubicBezTo>
                  <a:pt x="26907" y="30605"/>
                  <a:pt x="27045" y="30667"/>
                  <a:pt x="27186" y="30667"/>
                </a:cubicBezTo>
                <a:cubicBezTo>
                  <a:pt x="27288" y="30667"/>
                  <a:pt x="27388" y="30637"/>
                  <a:pt x="27474" y="30568"/>
                </a:cubicBezTo>
                <a:cubicBezTo>
                  <a:pt x="27682" y="30410"/>
                  <a:pt x="27719" y="30113"/>
                  <a:pt x="27559" y="29908"/>
                </a:cubicBezTo>
                <a:cubicBezTo>
                  <a:pt x="27468" y="29786"/>
                  <a:pt x="27329" y="29724"/>
                  <a:pt x="27189" y="29724"/>
                </a:cubicBezTo>
                <a:close/>
                <a:moveTo>
                  <a:pt x="7695" y="30291"/>
                </a:moveTo>
                <a:cubicBezTo>
                  <a:pt x="7544" y="30291"/>
                  <a:pt x="7396" y="30362"/>
                  <a:pt x="7305" y="30495"/>
                </a:cubicBezTo>
                <a:cubicBezTo>
                  <a:pt x="7159" y="30711"/>
                  <a:pt x="7214" y="31004"/>
                  <a:pt x="7428" y="31151"/>
                </a:cubicBezTo>
                <a:cubicBezTo>
                  <a:pt x="7510" y="31207"/>
                  <a:pt x="7603" y="31232"/>
                  <a:pt x="7695" y="31235"/>
                </a:cubicBezTo>
                <a:cubicBezTo>
                  <a:pt x="7845" y="31235"/>
                  <a:pt x="7994" y="31162"/>
                  <a:pt x="8085" y="31030"/>
                </a:cubicBezTo>
                <a:cubicBezTo>
                  <a:pt x="8231" y="30813"/>
                  <a:pt x="8176" y="30518"/>
                  <a:pt x="7961" y="30373"/>
                </a:cubicBezTo>
                <a:cubicBezTo>
                  <a:pt x="7879" y="30317"/>
                  <a:pt x="7786" y="30291"/>
                  <a:pt x="7695" y="30291"/>
                </a:cubicBezTo>
                <a:close/>
                <a:moveTo>
                  <a:pt x="25627" y="30794"/>
                </a:moveTo>
                <a:cubicBezTo>
                  <a:pt x="25543" y="30794"/>
                  <a:pt x="25458" y="30816"/>
                  <a:pt x="25381" y="30863"/>
                </a:cubicBezTo>
                <a:cubicBezTo>
                  <a:pt x="25160" y="30996"/>
                  <a:pt x="25086" y="31288"/>
                  <a:pt x="25221" y="31511"/>
                </a:cubicBezTo>
                <a:cubicBezTo>
                  <a:pt x="25309" y="31657"/>
                  <a:pt x="25465" y="31737"/>
                  <a:pt x="25626" y="31737"/>
                </a:cubicBezTo>
                <a:cubicBezTo>
                  <a:pt x="25709" y="31737"/>
                  <a:pt x="25793" y="31716"/>
                  <a:pt x="25869" y="31669"/>
                </a:cubicBezTo>
                <a:cubicBezTo>
                  <a:pt x="26090" y="31534"/>
                  <a:pt x="26165" y="31244"/>
                  <a:pt x="26030" y="31019"/>
                </a:cubicBezTo>
                <a:cubicBezTo>
                  <a:pt x="25942" y="30875"/>
                  <a:pt x="25786" y="30794"/>
                  <a:pt x="25627" y="30794"/>
                </a:cubicBezTo>
                <a:close/>
                <a:moveTo>
                  <a:pt x="9319" y="31267"/>
                </a:moveTo>
                <a:cubicBezTo>
                  <a:pt x="9150" y="31267"/>
                  <a:pt x="8986" y="31360"/>
                  <a:pt x="8900" y="31520"/>
                </a:cubicBezTo>
                <a:cubicBezTo>
                  <a:pt x="8779" y="31751"/>
                  <a:pt x="8867" y="32034"/>
                  <a:pt x="9098" y="32157"/>
                </a:cubicBezTo>
                <a:cubicBezTo>
                  <a:pt x="9166" y="32195"/>
                  <a:pt x="9242" y="32211"/>
                  <a:pt x="9318" y="32214"/>
                </a:cubicBezTo>
                <a:cubicBezTo>
                  <a:pt x="9485" y="32214"/>
                  <a:pt x="9650" y="32119"/>
                  <a:pt x="9735" y="31960"/>
                </a:cubicBezTo>
                <a:cubicBezTo>
                  <a:pt x="9856" y="31731"/>
                  <a:pt x="9770" y="31447"/>
                  <a:pt x="9538" y="31323"/>
                </a:cubicBezTo>
                <a:cubicBezTo>
                  <a:pt x="9468" y="31285"/>
                  <a:pt x="9393" y="31267"/>
                  <a:pt x="9319" y="31267"/>
                </a:cubicBezTo>
                <a:close/>
                <a:moveTo>
                  <a:pt x="23952" y="31680"/>
                </a:moveTo>
                <a:cubicBezTo>
                  <a:pt x="23886" y="31680"/>
                  <a:pt x="23819" y="31694"/>
                  <a:pt x="23756" y="31723"/>
                </a:cubicBezTo>
                <a:cubicBezTo>
                  <a:pt x="23518" y="31831"/>
                  <a:pt x="23414" y="32110"/>
                  <a:pt x="23522" y="32347"/>
                </a:cubicBezTo>
                <a:cubicBezTo>
                  <a:pt x="23601" y="32520"/>
                  <a:pt x="23773" y="32625"/>
                  <a:pt x="23950" y="32625"/>
                </a:cubicBezTo>
                <a:cubicBezTo>
                  <a:pt x="24017" y="32625"/>
                  <a:pt x="24082" y="32611"/>
                  <a:pt x="24146" y="32582"/>
                </a:cubicBezTo>
                <a:cubicBezTo>
                  <a:pt x="24381" y="32472"/>
                  <a:pt x="24488" y="32192"/>
                  <a:pt x="24380" y="31956"/>
                </a:cubicBezTo>
                <a:cubicBezTo>
                  <a:pt x="24301" y="31782"/>
                  <a:pt x="24130" y="31680"/>
                  <a:pt x="23952" y="31680"/>
                </a:cubicBezTo>
                <a:close/>
                <a:moveTo>
                  <a:pt x="11040" y="32055"/>
                </a:moveTo>
                <a:cubicBezTo>
                  <a:pt x="10850" y="32055"/>
                  <a:pt x="10672" y="32168"/>
                  <a:pt x="10599" y="32355"/>
                </a:cubicBezTo>
                <a:cubicBezTo>
                  <a:pt x="10508" y="32598"/>
                  <a:pt x="10627" y="32871"/>
                  <a:pt x="10867" y="32966"/>
                </a:cubicBezTo>
                <a:cubicBezTo>
                  <a:pt x="10925" y="32988"/>
                  <a:pt x="10984" y="32998"/>
                  <a:pt x="11040" y="32998"/>
                </a:cubicBezTo>
                <a:cubicBezTo>
                  <a:pt x="11228" y="32998"/>
                  <a:pt x="11409" y="32883"/>
                  <a:pt x="11479" y="32696"/>
                </a:cubicBezTo>
                <a:cubicBezTo>
                  <a:pt x="11571" y="32453"/>
                  <a:pt x="11452" y="32180"/>
                  <a:pt x="11209" y="32086"/>
                </a:cubicBezTo>
                <a:lnTo>
                  <a:pt x="11212" y="32086"/>
                </a:lnTo>
                <a:cubicBezTo>
                  <a:pt x="11155" y="32065"/>
                  <a:pt x="11097" y="32055"/>
                  <a:pt x="11040" y="32055"/>
                </a:cubicBezTo>
                <a:close/>
                <a:moveTo>
                  <a:pt x="22183" y="32369"/>
                </a:moveTo>
                <a:cubicBezTo>
                  <a:pt x="22136" y="32369"/>
                  <a:pt x="22087" y="32376"/>
                  <a:pt x="22039" y="32391"/>
                </a:cubicBezTo>
                <a:lnTo>
                  <a:pt x="22038" y="32391"/>
                </a:lnTo>
                <a:cubicBezTo>
                  <a:pt x="21794" y="32472"/>
                  <a:pt x="21657" y="32739"/>
                  <a:pt x="21736" y="32985"/>
                </a:cubicBezTo>
                <a:cubicBezTo>
                  <a:pt x="21803" y="33185"/>
                  <a:pt x="21988" y="33309"/>
                  <a:pt x="22185" y="33309"/>
                </a:cubicBezTo>
                <a:cubicBezTo>
                  <a:pt x="22234" y="33309"/>
                  <a:pt x="22284" y="33302"/>
                  <a:pt x="22331" y="33288"/>
                </a:cubicBezTo>
                <a:cubicBezTo>
                  <a:pt x="22577" y="33209"/>
                  <a:pt x="22713" y="32942"/>
                  <a:pt x="22634" y="32695"/>
                </a:cubicBezTo>
                <a:cubicBezTo>
                  <a:pt x="22568" y="32496"/>
                  <a:pt x="22383" y="32369"/>
                  <a:pt x="22183" y="32369"/>
                </a:cubicBezTo>
                <a:close/>
                <a:moveTo>
                  <a:pt x="12840" y="32639"/>
                </a:moveTo>
                <a:cubicBezTo>
                  <a:pt x="12631" y="32639"/>
                  <a:pt x="12441" y="32780"/>
                  <a:pt x="12385" y="32992"/>
                </a:cubicBezTo>
                <a:cubicBezTo>
                  <a:pt x="12320" y="33246"/>
                  <a:pt x="12472" y="33501"/>
                  <a:pt x="12723" y="33567"/>
                </a:cubicBezTo>
                <a:cubicBezTo>
                  <a:pt x="12760" y="33576"/>
                  <a:pt x="12796" y="33583"/>
                  <a:pt x="12833" y="33583"/>
                </a:cubicBezTo>
                <a:cubicBezTo>
                  <a:pt x="12836" y="33583"/>
                  <a:pt x="12840" y="33583"/>
                  <a:pt x="12843" y="33583"/>
                </a:cubicBezTo>
                <a:cubicBezTo>
                  <a:pt x="13050" y="33583"/>
                  <a:pt x="13241" y="33443"/>
                  <a:pt x="13299" y="33230"/>
                </a:cubicBezTo>
                <a:cubicBezTo>
                  <a:pt x="13364" y="32977"/>
                  <a:pt x="13212" y="32722"/>
                  <a:pt x="12960" y="32655"/>
                </a:cubicBezTo>
                <a:cubicBezTo>
                  <a:pt x="12920" y="32645"/>
                  <a:pt x="12880" y="32639"/>
                  <a:pt x="12840" y="32639"/>
                </a:cubicBezTo>
                <a:close/>
                <a:moveTo>
                  <a:pt x="20354" y="32851"/>
                </a:moveTo>
                <a:cubicBezTo>
                  <a:pt x="20323" y="32851"/>
                  <a:pt x="20292" y="32854"/>
                  <a:pt x="20261" y="32860"/>
                </a:cubicBezTo>
                <a:cubicBezTo>
                  <a:pt x="20007" y="32909"/>
                  <a:pt x="19842" y="33159"/>
                  <a:pt x="19890" y="33414"/>
                </a:cubicBezTo>
                <a:cubicBezTo>
                  <a:pt x="19939" y="33637"/>
                  <a:pt x="20133" y="33794"/>
                  <a:pt x="20352" y="33794"/>
                </a:cubicBezTo>
                <a:cubicBezTo>
                  <a:pt x="20387" y="33794"/>
                  <a:pt x="20417" y="33789"/>
                  <a:pt x="20447" y="33784"/>
                </a:cubicBezTo>
                <a:cubicBezTo>
                  <a:pt x="20701" y="33733"/>
                  <a:pt x="20866" y="33482"/>
                  <a:pt x="20816" y="33227"/>
                </a:cubicBezTo>
                <a:cubicBezTo>
                  <a:pt x="20772" y="33005"/>
                  <a:pt x="20574" y="32851"/>
                  <a:pt x="20354" y="32851"/>
                </a:cubicBezTo>
                <a:close/>
                <a:moveTo>
                  <a:pt x="14697" y="33011"/>
                </a:moveTo>
                <a:cubicBezTo>
                  <a:pt x="14467" y="33011"/>
                  <a:pt x="14268" y="33181"/>
                  <a:pt x="14234" y="33417"/>
                </a:cubicBezTo>
                <a:cubicBezTo>
                  <a:pt x="14196" y="33675"/>
                  <a:pt x="14373" y="33913"/>
                  <a:pt x="14634" y="33951"/>
                </a:cubicBezTo>
                <a:cubicBezTo>
                  <a:pt x="14654" y="33954"/>
                  <a:pt x="14677" y="33956"/>
                  <a:pt x="14700" y="33956"/>
                </a:cubicBezTo>
                <a:cubicBezTo>
                  <a:pt x="14932" y="33956"/>
                  <a:pt x="15134" y="33786"/>
                  <a:pt x="15167" y="33551"/>
                </a:cubicBezTo>
                <a:cubicBezTo>
                  <a:pt x="15203" y="33290"/>
                  <a:pt x="15023" y="33053"/>
                  <a:pt x="14766" y="33016"/>
                </a:cubicBezTo>
                <a:cubicBezTo>
                  <a:pt x="14743" y="33013"/>
                  <a:pt x="14720" y="33011"/>
                  <a:pt x="14697" y="33011"/>
                </a:cubicBezTo>
                <a:close/>
                <a:moveTo>
                  <a:pt x="18483" y="33118"/>
                </a:moveTo>
                <a:cubicBezTo>
                  <a:pt x="18469" y="33118"/>
                  <a:pt x="18454" y="33118"/>
                  <a:pt x="18439" y="33120"/>
                </a:cubicBezTo>
                <a:cubicBezTo>
                  <a:pt x="18180" y="33142"/>
                  <a:pt x="17990" y="33369"/>
                  <a:pt x="18011" y="33628"/>
                </a:cubicBezTo>
                <a:cubicBezTo>
                  <a:pt x="18031" y="33872"/>
                  <a:pt x="18236" y="34059"/>
                  <a:pt x="18482" y="34061"/>
                </a:cubicBezTo>
                <a:cubicBezTo>
                  <a:pt x="18494" y="34061"/>
                  <a:pt x="18509" y="34061"/>
                  <a:pt x="18521" y="34059"/>
                </a:cubicBezTo>
                <a:lnTo>
                  <a:pt x="18521" y="34061"/>
                </a:lnTo>
                <a:cubicBezTo>
                  <a:pt x="18779" y="34036"/>
                  <a:pt x="18972" y="33809"/>
                  <a:pt x="18952" y="33549"/>
                </a:cubicBezTo>
                <a:cubicBezTo>
                  <a:pt x="18928" y="33303"/>
                  <a:pt x="18724" y="33118"/>
                  <a:pt x="18483" y="33118"/>
                </a:cubicBezTo>
                <a:close/>
                <a:moveTo>
                  <a:pt x="16587" y="33171"/>
                </a:moveTo>
                <a:cubicBezTo>
                  <a:pt x="16334" y="33171"/>
                  <a:pt x="16125" y="33373"/>
                  <a:pt x="16117" y="33630"/>
                </a:cubicBezTo>
                <a:cubicBezTo>
                  <a:pt x="16108" y="33891"/>
                  <a:pt x="16313" y="34106"/>
                  <a:pt x="16574" y="34114"/>
                </a:cubicBezTo>
                <a:lnTo>
                  <a:pt x="16586" y="34114"/>
                </a:lnTo>
                <a:cubicBezTo>
                  <a:pt x="16841" y="34114"/>
                  <a:pt x="17051" y="33910"/>
                  <a:pt x="17058" y="33657"/>
                </a:cubicBezTo>
                <a:cubicBezTo>
                  <a:pt x="17066" y="33394"/>
                  <a:pt x="16861" y="33179"/>
                  <a:pt x="16601" y="33171"/>
                </a:cubicBezTo>
                <a:cubicBezTo>
                  <a:pt x="16597" y="33171"/>
                  <a:pt x="16592" y="33171"/>
                  <a:pt x="16587" y="3317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1208;p35">
            <a:hlinkClick r:id="" action="ppaction://hlinkshowjump?jump=nextslide"/>
          </p:cNvPr>
          <p:cNvSpPr/>
          <p:nvPr/>
        </p:nvSpPr>
        <p:spPr>
          <a:xfrm>
            <a:off x="8478050" y="6390550"/>
            <a:ext cx="422700" cy="268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35">
            <a:hlinkClick r:id="" action="ppaction://noaction"/>
          </p:cNvPr>
          <p:cNvSpPr txBox="1">
            <a:spLocks noGrp="1"/>
          </p:cNvSpPr>
          <p:nvPr>
            <p:ph type="subTitle" idx="6"/>
          </p:nvPr>
        </p:nvSpPr>
        <p:spPr>
          <a:xfrm>
            <a:off x="5539750"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ethodology</a:t>
            </a:r>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213"/>
        <p:cNvGrpSpPr/>
        <p:nvPr/>
      </p:nvGrpSpPr>
      <p:grpSpPr>
        <a:xfrm>
          <a:off x="0" y="0"/>
          <a:ext cx="0" cy="0"/>
          <a:chOff x="0" y="0"/>
          <a:chExt cx="0" cy="0"/>
        </a:xfrm>
      </p:grpSpPr>
      <p:sp>
        <p:nvSpPr>
          <p:cNvPr id="1214" name="Google Shape;1214;p36"/>
          <p:cNvSpPr txBox="1">
            <a:spLocks noGrp="1"/>
          </p:cNvSpPr>
          <p:nvPr>
            <p:ph type="title"/>
          </p:nvPr>
        </p:nvSpPr>
        <p:spPr>
          <a:xfrm>
            <a:off x="720000" y="720000"/>
            <a:ext cx="7704000" cy="7524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3000">
                <a:solidFill>
                  <a:schemeClr val="accent3"/>
                </a:solidFill>
              </a:rPr>
              <a:t>THE QUESTION</a:t>
            </a:r>
            <a:endParaRPr sz="3000"/>
          </a:p>
        </p:txBody>
      </p:sp>
      <p:sp>
        <p:nvSpPr>
          <p:cNvPr id="1215" name="Google Shape;1215;p36"/>
          <p:cNvSpPr txBox="1">
            <a:spLocks noGrp="1"/>
          </p:cNvSpPr>
          <p:nvPr>
            <p:ph type="body" idx="1"/>
          </p:nvPr>
        </p:nvSpPr>
        <p:spPr>
          <a:xfrm>
            <a:off x="720000" y="1527033"/>
            <a:ext cx="7704000" cy="46104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1800">
                <a:solidFill>
                  <a:schemeClr val="dk1"/>
                </a:solidFill>
              </a:rPr>
              <a:t>Do </a:t>
            </a:r>
            <a:r>
              <a:rPr lang="en" sz="1800" b="1">
                <a:solidFill>
                  <a:schemeClr val="accent2"/>
                </a:solidFill>
              </a:rPr>
              <a:t>social characteristics</a:t>
            </a:r>
            <a:r>
              <a:rPr lang="en" sz="1800">
                <a:solidFill>
                  <a:schemeClr val="dk1"/>
                </a:solidFill>
              </a:rPr>
              <a:t> and </a:t>
            </a:r>
            <a:r>
              <a:rPr lang="en" sz="1800" b="1">
                <a:solidFill>
                  <a:schemeClr val="accent2"/>
                </a:solidFill>
              </a:rPr>
              <a:t>behavior</a:t>
            </a:r>
            <a:r>
              <a:rPr lang="en" sz="1800">
                <a:solidFill>
                  <a:schemeClr val="dk1"/>
                </a:solidFill>
              </a:rPr>
              <a:t> predict </a:t>
            </a:r>
            <a:r>
              <a:rPr lang="en" sz="1800" b="1">
                <a:solidFill>
                  <a:schemeClr val="accent5"/>
                </a:solidFill>
              </a:rPr>
              <a:t>presidential voter choice</a:t>
            </a:r>
            <a:r>
              <a:rPr lang="en" sz="1800">
                <a:solidFill>
                  <a:schemeClr val="dk1"/>
                </a:solidFill>
              </a:rPr>
              <a:t>?</a:t>
            </a:r>
            <a:endParaRPr sz="1800">
              <a:solidFill>
                <a:schemeClr val="dk1"/>
              </a:solidFill>
            </a:endParaRPr>
          </a:p>
          <a:p>
            <a:pPr marL="0" lvl="0" indent="0" algn="l" rtl="0">
              <a:spcBef>
                <a:spcPts val="0"/>
              </a:spcBef>
              <a:spcAft>
                <a:spcPts val="0"/>
              </a:spcAft>
              <a:buNone/>
            </a:pPr>
            <a:endParaRPr>
              <a:solidFill>
                <a:schemeClr val="dk1"/>
              </a:solidFill>
            </a:endParaRPr>
          </a:p>
          <a:p>
            <a:pPr marL="0" lvl="0" indent="0" algn="l" rtl="0">
              <a:spcBef>
                <a:spcPts val="0"/>
              </a:spcBef>
              <a:spcAft>
                <a:spcPts val="0"/>
              </a:spcAft>
              <a:buNone/>
            </a:pPr>
            <a:endParaRPr>
              <a:solidFill>
                <a:schemeClr val="dk1"/>
              </a:solidFill>
            </a:endParaRPr>
          </a:p>
        </p:txBody>
      </p:sp>
      <p:sp>
        <p:nvSpPr>
          <p:cNvPr id="1216" name="Google Shape;1216;p36">
            <a:hlinkClick r:id="" action="ppaction://hlinkshowjump?jump=nextslide"/>
          </p:cNvPr>
          <p:cNvSpPr/>
          <p:nvPr/>
        </p:nvSpPr>
        <p:spPr>
          <a:xfrm>
            <a:off x="8478050" y="6390550"/>
            <a:ext cx="422700" cy="268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1217;p36">
            <a:hlinkClick r:id="" action="ppaction://hlinkshowjump?jump=previousslide"/>
          </p:cNvPr>
          <p:cNvSpPr/>
          <p:nvPr/>
        </p:nvSpPr>
        <p:spPr>
          <a:xfrm>
            <a:off x="8001300" y="6390550"/>
            <a:ext cx="422700" cy="268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221"/>
        <p:cNvGrpSpPr/>
        <p:nvPr/>
      </p:nvGrpSpPr>
      <p:grpSpPr>
        <a:xfrm>
          <a:off x="0" y="0"/>
          <a:ext cx="0" cy="0"/>
          <a:chOff x="0" y="0"/>
          <a:chExt cx="0" cy="0"/>
        </a:xfrm>
      </p:grpSpPr>
      <p:sp>
        <p:nvSpPr>
          <p:cNvPr id="1222" name="Google Shape;1222;p37">
            <a:hlinkClick r:id="rId3" action="ppaction://hlinksldjump"/>
          </p:cNvPr>
          <p:cNvSpPr txBox="1">
            <a:spLocks noGrp="1"/>
          </p:cNvSpPr>
          <p:nvPr>
            <p:ph type="title"/>
          </p:nvPr>
        </p:nvSpPr>
        <p:spPr>
          <a:xfrm>
            <a:off x="3994225" y="1402513"/>
            <a:ext cx="2330400" cy="7035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sz="3000"/>
              <a:t>WHY?</a:t>
            </a:r>
            <a:endParaRPr sz="3000"/>
          </a:p>
        </p:txBody>
      </p:sp>
      <p:sp>
        <p:nvSpPr>
          <p:cNvPr id="1223" name="Google Shape;1223;p37"/>
          <p:cNvSpPr txBox="1">
            <a:spLocks noGrp="1"/>
          </p:cNvSpPr>
          <p:nvPr>
            <p:ph type="subTitle" idx="1"/>
          </p:nvPr>
        </p:nvSpPr>
        <p:spPr>
          <a:xfrm>
            <a:off x="3773100" y="2484175"/>
            <a:ext cx="4704900" cy="1654200"/>
          </a:xfrm>
          <a:prstGeom prst="rect">
            <a:avLst/>
          </a:prstGeom>
        </p:spPr>
        <p:txBody>
          <a:bodyPr spcFirstLastPara="1" wrap="square" lIns="91425" tIns="91425" rIns="91425" bIns="91425" anchor="t" anchorCtr="0">
            <a:noAutofit/>
          </a:bodyPr>
          <a:lstStyle/>
          <a:p>
            <a:pPr marL="0" lvl="0" indent="0" algn="l" rtl="0">
              <a:lnSpc>
                <a:spcPct val="150000"/>
              </a:lnSpc>
              <a:spcBef>
                <a:spcPts val="0"/>
              </a:spcBef>
              <a:spcAft>
                <a:spcPts val="0"/>
              </a:spcAft>
              <a:buNone/>
            </a:pPr>
            <a:r>
              <a:rPr lang="en" sz="1800"/>
              <a:t>In a </a:t>
            </a:r>
            <a:r>
              <a:rPr lang="en" sz="1800" b="1"/>
              <a:t>politically polarized</a:t>
            </a:r>
            <a:r>
              <a:rPr lang="en" sz="1800"/>
              <a:t> American society, </a:t>
            </a:r>
            <a:r>
              <a:rPr lang="en" sz="1800" b="1"/>
              <a:t>understanding</a:t>
            </a:r>
            <a:r>
              <a:rPr lang="en" sz="1800"/>
              <a:t> </a:t>
            </a:r>
            <a:r>
              <a:rPr lang="en" sz="1800" b="1"/>
              <a:t>underlying drivers</a:t>
            </a:r>
            <a:r>
              <a:rPr lang="en" sz="1800"/>
              <a:t> for political decisions may </a:t>
            </a:r>
            <a:r>
              <a:rPr lang="en" sz="1800" b="1"/>
              <a:t>reduce existing tensions</a:t>
            </a:r>
            <a:r>
              <a:rPr lang="en" sz="1800"/>
              <a:t> and contribute to a </a:t>
            </a:r>
            <a:r>
              <a:rPr lang="en" sz="1800" b="1"/>
              <a:t>more balanced and cooperative political culture</a:t>
            </a:r>
            <a:r>
              <a:rPr lang="en" sz="1800"/>
              <a:t>.</a:t>
            </a:r>
            <a:endParaRPr sz="1800"/>
          </a:p>
          <a:p>
            <a:pPr marL="0" lvl="0" indent="0" algn="l" rtl="0">
              <a:spcBef>
                <a:spcPts val="1600"/>
              </a:spcBef>
              <a:spcAft>
                <a:spcPts val="1600"/>
              </a:spcAft>
              <a:buNone/>
            </a:pPr>
            <a:endParaRPr sz="1200">
              <a:solidFill>
                <a:srgbClr val="C9D1D9"/>
              </a:solidFill>
              <a:highlight>
                <a:srgbClr val="0D1117"/>
              </a:highlight>
              <a:latin typeface="Arial"/>
              <a:ea typeface="Arial"/>
              <a:cs typeface="Arial"/>
              <a:sym typeface="Arial"/>
            </a:endParaRPr>
          </a:p>
        </p:txBody>
      </p:sp>
      <p:sp>
        <p:nvSpPr>
          <p:cNvPr id="1224" name="Google Shape;1224;p37">
            <a:hlinkClick r:id="" action="ppaction://hlinkshowjump?jump=nextslide"/>
          </p:cNvPr>
          <p:cNvSpPr/>
          <p:nvPr/>
        </p:nvSpPr>
        <p:spPr>
          <a:xfrm>
            <a:off x="8478050" y="6390550"/>
            <a:ext cx="422700" cy="268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37">
            <a:hlinkClick r:id="" action="ppaction://hlinkshowjump?jump=previousslide"/>
          </p:cNvPr>
          <p:cNvSpPr/>
          <p:nvPr/>
        </p:nvSpPr>
        <p:spPr>
          <a:xfrm>
            <a:off x="8001300" y="6390550"/>
            <a:ext cx="422700" cy="268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26" name="Google Shape;1226;p37"/>
          <p:cNvGrpSpPr/>
          <p:nvPr/>
        </p:nvGrpSpPr>
        <p:grpSpPr>
          <a:xfrm>
            <a:off x="406716" y="1311782"/>
            <a:ext cx="2970207" cy="4035230"/>
            <a:chOff x="6381950" y="1536125"/>
            <a:chExt cx="2337825" cy="3347350"/>
          </a:xfrm>
        </p:grpSpPr>
        <p:sp>
          <p:nvSpPr>
            <p:cNvPr id="1227" name="Google Shape;1227;p37"/>
            <p:cNvSpPr/>
            <p:nvPr/>
          </p:nvSpPr>
          <p:spPr>
            <a:xfrm>
              <a:off x="6671675" y="1808825"/>
              <a:ext cx="2048100" cy="3074100"/>
            </a:xfrm>
            <a:prstGeom prst="rect">
              <a:avLst/>
            </a:prstGeom>
            <a:no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228" name="Google Shape;1228;p37"/>
            <p:cNvCxnSpPr/>
            <p:nvPr/>
          </p:nvCxnSpPr>
          <p:spPr>
            <a:xfrm>
              <a:off x="6381950" y="4598125"/>
              <a:ext cx="288600" cy="285300"/>
            </a:xfrm>
            <a:prstGeom prst="straightConnector1">
              <a:avLst/>
            </a:prstGeom>
            <a:noFill/>
            <a:ln w="9525" cap="flat" cmpd="sng">
              <a:solidFill>
                <a:schemeClr val="accent6"/>
              </a:solidFill>
              <a:prstDash val="solid"/>
              <a:round/>
              <a:headEnd type="none" w="med" len="med"/>
              <a:tailEnd type="none" w="med" len="med"/>
            </a:ln>
          </p:spPr>
        </p:cxnSp>
        <p:cxnSp>
          <p:nvCxnSpPr>
            <p:cNvPr id="1229" name="Google Shape;1229;p37"/>
            <p:cNvCxnSpPr/>
            <p:nvPr/>
          </p:nvCxnSpPr>
          <p:spPr>
            <a:xfrm>
              <a:off x="8375950" y="4549275"/>
              <a:ext cx="338400" cy="334200"/>
            </a:xfrm>
            <a:prstGeom prst="straightConnector1">
              <a:avLst/>
            </a:prstGeom>
            <a:noFill/>
            <a:ln w="9525" cap="flat" cmpd="sng">
              <a:solidFill>
                <a:schemeClr val="accent6"/>
              </a:solidFill>
              <a:prstDash val="solid"/>
              <a:round/>
              <a:headEnd type="none" w="med" len="med"/>
              <a:tailEnd type="none" w="med" len="med"/>
            </a:ln>
          </p:spPr>
        </p:cxnSp>
        <p:cxnSp>
          <p:nvCxnSpPr>
            <p:cNvPr id="1230" name="Google Shape;1230;p37"/>
            <p:cNvCxnSpPr/>
            <p:nvPr/>
          </p:nvCxnSpPr>
          <p:spPr>
            <a:xfrm>
              <a:off x="8420250" y="1536125"/>
              <a:ext cx="299400" cy="272700"/>
            </a:xfrm>
            <a:prstGeom prst="straightConnector1">
              <a:avLst/>
            </a:prstGeom>
            <a:noFill/>
            <a:ln w="9525" cap="flat" cmpd="sng">
              <a:solidFill>
                <a:schemeClr val="accent6"/>
              </a:solidFill>
              <a:prstDash val="solid"/>
              <a:round/>
              <a:headEnd type="none" w="med" len="med"/>
              <a:tailEnd type="none" w="med" len="med"/>
            </a:ln>
          </p:spPr>
        </p:cxnSp>
      </p:grpSp>
      <p:pic>
        <p:nvPicPr>
          <p:cNvPr id="1231" name="Google Shape;1231;p37"/>
          <p:cNvPicPr preferRelativeResize="0"/>
          <p:nvPr/>
        </p:nvPicPr>
        <p:blipFill rotWithShape="1">
          <a:blip r:embed="rId4">
            <a:alphaModFix/>
          </a:blip>
          <a:srcRect l="14528" r="14528"/>
          <a:stretch/>
        </p:blipFill>
        <p:spPr>
          <a:xfrm>
            <a:off x="406424" y="1311825"/>
            <a:ext cx="2636851" cy="3716864"/>
          </a:xfrm>
          <a:prstGeom prst="rect">
            <a:avLst/>
          </a:prstGeom>
          <a:noFill/>
          <a:ln>
            <a:noFill/>
          </a:ln>
        </p:spPr>
      </p:pic>
      <p:sp>
        <p:nvSpPr>
          <p:cNvPr id="1232" name="Google Shape;1232;p37">
            <a:hlinkClick r:id="rId5" action="ppaction://hlinksldjump"/>
          </p:cNvPr>
          <p:cNvSpPr txBox="1"/>
          <p:nvPr/>
        </p:nvSpPr>
        <p:spPr>
          <a:xfrm>
            <a:off x="1723175" y="404700"/>
            <a:ext cx="1106700" cy="462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950">
                <a:solidFill>
                  <a:srgbClr val="191919"/>
                </a:solidFill>
                <a:latin typeface="Nunito"/>
                <a:ea typeface="Nunito"/>
                <a:cs typeface="Nunito"/>
                <a:sym typeface="Nunito"/>
              </a:rPr>
              <a:t>Introduction</a:t>
            </a:r>
            <a:endParaRPr sz="950">
              <a:solidFill>
                <a:srgbClr val="191919"/>
              </a:solidFill>
              <a:latin typeface="Nunito"/>
              <a:ea typeface="Nunito"/>
              <a:cs typeface="Nunito"/>
              <a:sym typeface="Nunito"/>
            </a:endParaRPr>
          </a:p>
        </p:txBody>
      </p:sp>
      <p:sp>
        <p:nvSpPr>
          <p:cNvPr id="1233" name="Google Shape;1233;p37">
            <a:hlinkClick r:id="rId3" action="ppaction://hlinksldjump"/>
          </p:cNvPr>
          <p:cNvSpPr txBox="1"/>
          <p:nvPr/>
        </p:nvSpPr>
        <p:spPr>
          <a:xfrm>
            <a:off x="3958838" y="404700"/>
            <a:ext cx="1106700" cy="462000"/>
          </a:xfrm>
          <a:prstGeom prst="rect">
            <a:avLst/>
          </a:prstGeom>
          <a:noFill/>
          <a:ln w="9525" cap="flat" cmpd="sng">
            <a:solidFill>
              <a:srgbClr val="FD2F2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950">
                <a:solidFill>
                  <a:srgbClr val="FD2F2F"/>
                </a:solidFill>
                <a:latin typeface="Nunito Black"/>
                <a:ea typeface="Nunito Black"/>
                <a:cs typeface="Nunito Black"/>
                <a:sym typeface="Nunito Black"/>
              </a:rPr>
              <a:t>Why?</a:t>
            </a:r>
            <a:endParaRPr sz="950">
              <a:solidFill>
                <a:srgbClr val="FD2F2F"/>
              </a:solidFill>
              <a:latin typeface="Nunito Black"/>
              <a:ea typeface="Nunito Black"/>
              <a:cs typeface="Nunito Black"/>
              <a:sym typeface="Nunito Black"/>
            </a:endParaRPr>
          </a:p>
        </p:txBody>
      </p:sp>
      <p:sp>
        <p:nvSpPr>
          <p:cNvPr id="1234" name="Google Shape;1234;p37">
            <a:hlinkClick r:id="" action="ppaction://noaction"/>
          </p:cNvPr>
          <p:cNvSpPr txBox="1"/>
          <p:nvPr/>
        </p:nvSpPr>
        <p:spPr>
          <a:xfrm>
            <a:off x="2887525" y="404700"/>
            <a:ext cx="1106700" cy="462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950">
                <a:solidFill>
                  <a:srgbClr val="191919"/>
                </a:solidFill>
                <a:latin typeface="Nunito"/>
                <a:ea typeface="Nunito"/>
                <a:cs typeface="Nunito"/>
                <a:sym typeface="Nunito"/>
              </a:rPr>
              <a:t>The Question</a:t>
            </a:r>
            <a:endParaRPr sz="950">
              <a:solidFill>
                <a:srgbClr val="191919"/>
              </a:solidFill>
              <a:latin typeface="Nunito"/>
              <a:ea typeface="Nunito"/>
              <a:cs typeface="Nunito"/>
              <a:sym typeface="Nunito"/>
            </a:endParaRPr>
          </a:p>
        </p:txBody>
      </p:sp>
      <p:sp>
        <p:nvSpPr>
          <p:cNvPr id="1235" name="Google Shape;1235;p37">
            <a:hlinkClick r:id="" action="ppaction://noaction"/>
          </p:cNvPr>
          <p:cNvSpPr txBox="1"/>
          <p:nvPr/>
        </p:nvSpPr>
        <p:spPr>
          <a:xfrm>
            <a:off x="6042100" y="404700"/>
            <a:ext cx="1106700" cy="462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950">
                <a:solidFill>
                  <a:srgbClr val="191919"/>
                </a:solidFill>
                <a:latin typeface="Nunito"/>
                <a:ea typeface="Nunito"/>
                <a:cs typeface="Nunito"/>
                <a:sym typeface="Nunito"/>
              </a:rPr>
              <a:t>Methodology</a:t>
            </a:r>
            <a:endParaRPr sz="950">
              <a:solidFill>
                <a:srgbClr val="191919"/>
              </a:solidFill>
              <a:latin typeface="Nunito"/>
              <a:ea typeface="Nunito"/>
              <a:cs typeface="Nunito"/>
              <a:sym typeface="Nunito"/>
            </a:endParaRPr>
          </a:p>
        </p:txBody>
      </p:sp>
      <p:sp>
        <p:nvSpPr>
          <p:cNvPr id="1236" name="Google Shape;1236;p37">
            <a:hlinkClick r:id="" action="ppaction://noaction"/>
          </p:cNvPr>
          <p:cNvSpPr txBox="1"/>
          <p:nvPr/>
        </p:nvSpPr>
        <p:spPr>
          <a:xfrm>
            <a:off x="5065550" y="404700"/>
            <a:ext cx="1106700" cy="462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950">
                <a:solidFill>
                  <a:srgbClr val="191919"/>
                </a:solidFill>
                <a:latin typeface="Nunito"/>
                <a:ea typeface="Nunito"/>
                <a:cs typeface="Nunito"/>
                <a:sym typeface="Nunito"/>
              </a:rPr>
              <a:t>Data Source</a:t>
            </a:r>
            <a:endParaRPr sz="950">
              <a:solidFill>
                <a:srgbClr val="191919"/>
              </a:solidFill>
              <a:latin typeface="Nunito"/>
              <a:ea typeface="Nunito"/>
              <a:cs typeface="Nunito"/>
              <a:sym typeface="Nunito"/>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240"/>
        <p:cNvGrpSpPr/>
        <p:nvPr/>
      </p:nvGrpSpPr>
      <p:grpSpPr>
        <a:xfrm>
          <a:off x="0" y="0"/>
          <a:ext cx="0" cy="0"/>
          <a:chOff x="0" y="0"/>
          <a:chExt cx="0" cy="0"/>
        </a:xfrm>
      </p:grpSpPr>
      <p:sp>
        <p:nvSpPr>
          <p:cNvPr id="1241" name="Google Shape;1241;p38"/>
          <p:cNvSpPr txBox="1">
            <a:spLocks noGrp="1"/>
          </p:cNvSpPr>
          <p:nvPr>
            <p:ph type="subTitle" idx="1"/>
          </p:nvPr>
        </p:nvSpPr>
        <p:spPr>
          <a:xfrm>
            <a:off x="613175" y="2721175"/>
            <a:ext cx="7024200" cy="1942800"/>
          </a:xfrm>
          <a:prstGeom prst="rect">
            <a:avLst/>
          </a:prstGeom>
        </p:spPr>
        <p:txBody>
          <a:bodyPr spcFirstLastPara="1" wrap="square" lIns="91425" tIns="91425" rIns="91425" bIns="91425" anchor="t" anchorCtr="0">
            <a:noAutofit/>
          </a:bodyPr>
          <a:lstStyle/>
          <a:p>
            <a:pPr marL="457200" lvl="0" indent="-342900" algn="l" rtl="0">
              <a:spcBef>
                <a:spcPts val="0"/>
              </a:spcBef>
              <a:spcAft>
                <a:spcPts val="0"/>
              </a:spcAft>
              <a:buSzPts val="1800"/>
              <a:buChar char="●"/>
            </a:pPr>
            <a:r>
              <a:rPr lang="en" sz="1800"/>
              <a:t>Shiro Kuriwaki</a:t>
            </a:r>
            <a:br>
              <a:rPr lang="en" sz="1800"/>
            </a:br>
            <a:endParaRPr sz="1800"/>
          </a:p>
          <a:p>
            <a:pPr marL="457200" lvl="0" indent="-342900" algn="l" rtl="0">
              <a:spcBef>
                <a:spcPts val="0"/>
              </a:spcBef>
              <a:spcAft>
                <a:spcPts val="0"/>
              </a:spcAft>
              <a:buSzPts val="1800"/>
              <a:buChar char="●"/>
            </a:pPr>
            <a:r>
              <a:rPr lang="en" sz="1800"/>
              <a:t>Cooperative Congressional Election Study (CCES)</a:t>
            </a:r>
            <a:br>
              <a:rPr lang="en" sz="1800"/>
            </a:br>
            <a:endParaRPr sz="1800"/>
          </a:p>
          <a:p>
            <a:pPr marL="457200" lvl="0" indent="-342900" algn="l" rtl="0">
              <a:spcBef>
                <a:spcPts val="0"/>
              </a:spcBef>
              <a:spcAft>
                <a:spcPts val="0"/>
              </a:spcAft>
              <a:buSzPts val="1800"/>
              <a:buChar char="●"/>
            </a:pPr>
            <a:r>
              <a:rPr lang="en" sz="1800"/>
              <a:t>Dataframe (452,755 observations, 73 features)</a:t>
            </a:r>
            <a:br>
              <a:rPr lang="en" sz="1800"/>
            </a:br>
            <a:endParaRPr sz="1800"/>
          </a:p>
          <a:p>
            <a:pPr marL="457200" lvl="0" indent="-342900" algn="l" rtl="0">
              <a:spcBef>
                <a:spcPts val="0"/>
              </a:spcBef>
              <a:spcAft>
                <a:spcPts val="0"/>
              </a:spcAft>
              <a:buSzPts val="1800"/>
              <a:buChar char="●"/>
            </a:pPr>
            <a:r>
              <a:rPr lang="en" sz="1800"/>
              <a:t>Geographic, demographic, economic, news interest, political affinity, and presidential choice variables</a:t>
            </a:r>
            <a:br>
              <a:rPr lang="en" sz="1800"/>
            </a:br>
            <a:endParaRPr sz="1800"/>
          </a:p>
          <a:p>
            <a:pPr marL="457200" lvl="0" indent="-342900" algn="l" rtl="0">
              <a:spcBef>
                <a:spcPts val="0"/>
              </a:spcBef>
              <a:spcAft>
                <a:spcPts val="0"/>
              </a:spcAft>
              <a:buSzPts val="1800"/>
              <a:buChar char="●"/>
            </a:pPr>
            <a:r>
              <a:rPr lang="en" sz="1800"/>
              <a:t>One of the most comprehensive political surveys in the US</a:t>
            </a:r>
            <a:endParaRPr sz="1800"/>
          </a:p>
        </p:txBody>
      </p:sp>
      <p:sp>
        <p:nvSpPr>
          <p:cNvPr id="1242" name="Google Shape;1242;p38">
            <a:hlinkClick r:id="" action="ppaction://hlinkshowjump?jump=nextslide"/>
          </p:cNvPr>
          <p:cNvSpPr/>
          <p:nvPr/>
        </p:nvSpPr>
        <p:spPr>
          <a:xfrm>
            <a:off x="8478050" y="6390550"/>
            <a:ext cx="422700" cy="268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1243;p38">
            <a:hlinkClick r:id="" action="ppaction://hlinkshowjump?jump=previousslide"/>
          </p:cNvPr>
          <p:cNvSpPr/>
          <p:nvPr/>
        </p:nvSpPr>
        <p:spPr>
          <a:xfrm>
            <a:off x="8001300" y="6390550"/>
            <a:ext cx="422700" cy="268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1244;p38">
            <a:hlinkClick r:id="rId3" action="ppaction://hlinksldjump"/>
          </p:cNvPr>
          <p:cNvSpPr txBox="1">
            <a:spLocks noGrp="1"/>
          </p:cNvSpPr>
          <p:nvPr>
            <p:ph type="subTitle" idx="2"/>
          </p:nvPr>
        </p:nvSpPr>
        <p:spPr>
          <a:xfrm>
            <a:off x="882350"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Introduction</a:t>
            </a:r>
            <a:endParaRPr/>
          </a:p>
        </p:txBody>
      </p:sp>
      <p:sp>
        <p:nvSpPr>
          <p:cNvPr id="1245" name="Google Shape;1245;p38">
            <a:hlinkClick r:id="rId4" action="ppaction://hlinksldjump"/>
          </p:cNvPr>
          <p:cNvSpPr txBox="1">
            <a:spLocks noGrp="1"/>
          </p:cNvSpPr>
          <p:nvPr>
            <p:ph type="subTitle" idx="3"/>
          </p:nvPr>
        </p:nvSpPr>
        <p:spPr>
          <a:xfrm>
            <a:off x="1928450" y="720025"/>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The Question</a:t>
            </a:r>
            <a:endParaRPr/>
          </a:p>
        </p:txBody>
      </p:sp>
      <p:sp>
        <p:nvSpPr>
          <p:cNvPr id="1246" name="Google Shape;1246;p38">
            <a:hlinkClick r:id="" action="ppaction://noaction"/>
          </p:cNvPr>
          <p:cNvSpPr txBox="1">
            <a:spLocks noGrp="1"/>
          </p:cNvSpPr>
          <p:nvPr>
            <p:ph type="subTitle" idx="4"/>
          </p:nvPr>
        </p:nvSpPr>
        <p:spPr>
          <a:xfrm>
            <a:off x="4065088"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Data Source</a:t>
            </a:r>
            <a:endParaRPr/>
          </a:p>
        </p:txBody>
      </p:sp>
      <p:sp>
        <p:nvSpPr>
          <p:cNvPr id="1247" name="Google Shape;1247;p38">
            <a:hlinkClick r:id="" action="ppaction://noaction"/>
          </p:cNvPr>
          <p:cNvSpPr txBox="1">
            <a:spLocks noGrp="1"/>
          </p:cNvSpPr>
          <p:nvPr>
            <p:ph type="subTitle" idx="5"/>
          </p:nvPr>
        </p:nvSpPr>
        <p:spPr>
          <a:xfrm>
            <a:off x="5171800" y="720025"/>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ethodology</a:t>
            </a:r>
            <a:endParaRPr/>
          </a:p>
        </p:txBody>
      </p:sp>
      <p:sp>
        <p:nvSpPr>
          <p:cNvPr id="1248" name="Google Shape;1248;p38">
            <a:hlinkClick r:id="" action="ppaction://noaction"/>
          </p:cNvPr>
          <p:cNvSpPr txBox="1">
            <a:spLocks noGrp="1"/>
          </p:cNvSpPr>
          <p:nvPr>
            <p:ph type="subTitle" idx="6"/>
          </p:nvPr>
        </p:nvSpPr>
        <p:spPr>
          <a:xfrm>
            <a:off x="2958400" y="720025"/>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Why?</a:t>
            </a:r>
            <a:endParaRPr/>
          </a:p>
        </p:txBody>
      </p:sp>
      <p:sp>
        <p:nvSpPr>
          <p:cNvPr id="1249" name="Google Shape;1249;p38">
            <a:hlinkClick r:id="rId4" action="ppaction://hlinksldjump"/>
          </p:cNvPr>
          <p:cNvSpPr txBox="1">
            <a:spLocks noGrp="1"/>
          </p:cNvSpPr>
          <p:nvPr>
            <p:ph type="title"/>
          </p:nvPr>
        </p:nvSpPr>
        <p:spPr>
          <a:xfrm>
            <a:off x="494950" y="1599838"/>
            <a:ext cx="3289200" cy="7035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sz="3000">
                <a:solidFill>
                  <a:schemeClr val="accent5"/>
                </a:solidFill>
              </a:rPr>
              <a:t>DATA SOURCE</a:t>
            </a:r>
            <a:endParaRPr sz="3000">
              <a:solidFill>
                <a:schemeClr val="accent5"/>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253"/>
        <p:cNvGrpSpPr/>
        <p:nvPr/>
      </p:nvGrpSpPr>
      <p:grpSpPr>
        <a:xfrm>
          <a:off x="0" y="0"/>
          <a:ext cx="0" cy="0"/>
          <a:chOff x="0" y="0"/>
          <a:chExt cx="0" cy="0"/>
        </a:xfrm>
      </p:grpSpPr>
      <p:sp>
        <p:nvSpPr>
          <p:cNvPr id="1254" name="Google Shape;1254;p39"/>
          <p:cNvSpPr txBox="1">
            <a:spLocks noGrp="1"/>
          </p:cNvSpPr>
          <p:nvPr>
            <p:ph type="subTitle" idx="1"/>
          </p:nvPr>
        </p:nvSpPr>
        <p:spPr>
          <a:xfrm>
            <a:off x="171000" y="2585950"/>
            <a:ext cx="7186800" cy="1374900"/>
          </a:xfrm>
          <a:prstGeom prst="rect">
            <a:avLst/>
          </a:prstGeom>
        </p:spPr>
        <p:txBody>
          <a:bodyPr spcFirstLastPara="1" wrap="square" lIns="91425" tIns="91425" rIns="91425" bIns="91425" anchor="t" anchorCtr="0">
            <a:noAutofit/>
          </a:bodyPr>
          <a:lstStyle/>
          <a:p>
            <a:pPr marL="0" lvl="0" indent="0" algn="l" rtl="0">
              <a:lnSpc>
                <a:spcPct val="200000"/>
              </a:lnSpc>
              <a:spcBef>
                <a:spcPts val="0"/>
              </a:spcBef>
              <a:spcAft>
                <a:spcPts val="0"/>
              </a:spcAft>
              <a:buNone/>
            </a:pPr>
            <a:r>
              <a:rPr lang="en">
                <a:solidFill>
                  <a:srgbClr val="191919"/>
                </a:solidFill>
              </a:rPr>
              <a:t>A-AV --&gt; Voter_information AC --&gt;AB-AC--&gt;Ideological Leaning E-T --&gt; Location_info/District_info U-AC--&gt;Ideological Information AW--&gt;Voter_opinion/choice BH-BK--&gt;Candidate_info</a:t>
            </a:r>
            <a:endParaRPr>
              <a:solidFill>
                <a:srgbClr val="191919"/>
              </a:solidFill>
            </a:endParaRPr>
          </a:p>
          <a:p>
            <a:pPr marL="0" lvl="0" indent="0" algn="l" rtl="0">
              <a:spcBef>
                <a:spcPts val="1600"/>
              </a:spcBef>
              <a:spcAft>
                <a:spcPts val="1600"/>
              </a:spcAft>
              <a:buNone/>
            </a:pPr>
            <a:endParaRPr/>
          </a:p>
        </p:txBody>
      </p:sp>
      <p:sp>
        <p:nvSpPr>
          <p:cNvPr id="1255" name="Google Shape;1255;p39">
            <a:hlinkClick r:id="" action="ppaction://hlinkshowjump?jump=nextslide"/>
          </p:cNvPr>
          <p:cNvSpPr/>
          <p:nvPr/>
        </p:nvSpPr>
        <p:spPr>
          <a:xfrm>
            <a:off x="8478050" y="6390550"/>
            <a:ext cx="422700" cy="268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1256;p39">
            <a:hlinkClick r:id="" action="ppaction://hlinkshowjump?jump=previousslide"/>
          </p:cNvPr>
          <p:cNvSpPr/>
          <p:nvPr/>
        </p:nvSpPr>
        <p:spPr>
          <a:xfrm>
            <a:off x="8001300" y="6390550"/>
            <a:ext cx="422700" cy="268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 name="Google Shape;1257;p39"/>
          <p:cNvSpPr txBox="1">
            <a:spLocks noGrp="1"/>
          </p:cNvSpPr>
          <p:nvPr>
            <p:ph type="title"/>
          </p:nvPr>
        </p:nvSpPr>
        <p:spPr>
          <a:xfrm>
            <a:off x="720000" y="1507767"/>
            <a:ext cx="7704000" cy="7524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a:solidFill>
                  <a:schemeClr val="accent3"/>
                </a:solidFill>
              </a:rPr>
              <a:t>METHODOLOGY</a:t>
            </a:r>
            <a:endParaRPr>
              <a:solidFill>
                <a:schemeClr val="accent3"/>
              </a:solidFill>
            </a:endParaRPr>
          </a:p>
        </p:txBody>
      </p:sp>
      <p:grpSp>
        <p:nvGrpSpPr>
          <p:cNvPr id="1258" name="Google Shape;1258;p39"/>
          <p:cNvGrpSpPr/>
          <p:nvPr/>
        </p:nvGrpSpPr>
        <p:grpSpPr>
          <a:xfrm>
            <a:off x="3867129" y="3862777"/>
            <a:ext cx="3969455" cy="2733718"/>
            <a:chOff x="5872100" y="2910900"/>
            <a:chExt cx="2851825" cy="1990475"/>
          </a:xfrm>
        </p:grpSpPr>
        <p:sp>
          <p:nvSpPr>
            <p:cNvPr id="1259" name="Google Shape;1259;p39"/>
            <p:cNvSpPr/>
            <p:nvPr/>
          </p:nvSpPr>
          <p:spPr>
            <a:xfrm>
              <a:off x="6160700" y="3191075"/>
              <a:ext cx="2563200" cy="1710300"/>
            </a:xfrm>
            <a:prstGeom prst="rect">
              <a:avLst/>
            </a:prstGeom>
            <a:no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260" name="Google Shape;1260;p39"/>
            <p:cNvCxnSpPr/>
            <p:nvPr/>
          </p:nvCxnSpPr>
          <p:spPr>
            <a:xfrm>
              <a:off x="5872100" y="4616075"/>
              <a:ext cx="288600" cy="285300"/>
            </a:xfrm>
            <a:prstGeom prst="straightConnector1">
              <a:avLst/>
            </a:prstGeom>
            <a:noFill/>
            <a:ln w="9525" cap="flat" cmpd="sng">
              <a:solidFill>
                <a:schemeClr val="accent6"/>
              </a:solidFill>
              <a:prstDash val="solid"/>
              <a:round/>
              <a:headEnd type="none" w="med" len="med"/>
              <a:tailEnd type="none" w="med" len="med"/>
            </a:ln>
          </p:spPr>
        </p:cxnSp>
        <p:cxnSp>
          <p:nvCxnSpPr>
            <p:cNvPr id="1261" name="Google Shape;1261;p39"/>
            <p:cNvCxnSpPr/>
            <p:nvPr/>
          </p:nvCxnSpPr>
          <p:spPr>
            <a:xfrm>
              <a:off x="8419125" y="2910900"/>
              <a:ext cx="304800" cy="280200"/>
            </a:xfrm>
            <a:prstGeom prst="straightConnector1">
              <a:avLst/>
            </a:prstGeom>
            <a:noFill/>
            <a:ln w="9525" cap="flat" cmpd="sng">
              <a:solidFill>
                <a:schemeClr val="accent6"/>
              </a:solidFill>
              <a:prstDash val="solid"/>
              <a:round/>
              <a:headEnd type="none" w="med" len="med"/>
              <a:tailEnd type="none" w="med" len="med"/>
            </a:ln>
          </p:spPr>
        </p:cxnSp>
        <p:cxnSp>
          <p:nvCxnSpPr>
            <p:cNvPr id="1262" name="Google Shape;1262;p39"/>
            <p:cNvCxnSpPr/>
            <p:nvPr/>
          </p:nvCxnSpPr>
          <p:spPr>
            <a:xfrm>
              <a:off x="8424000" y="4622675"/>
              <a:ext cx="299100" cy="278700"/>
            </a:xfrm>
            <a:prstGeom prst="straightConnector1">
              <a:avLst/>
            </a:prstGeom>
            <a:noFill/>
            <a:ln w="9525" cap="flat" cmpd="sng">
              <a:solidFill>
                <a:schemeClr val="accent6"/>
              </a:solidFill>
              <a:prstDash val="solid"/>
              <a:round/>
              <a:headEnd type="none" w="med" len="med"/>
              <a:tailEnd type="none" w="med" len="med"/>
            </a:ln>
          </p:spPr>
        </p:cxnSp>
      </p:grpSp>
      <p:pic>
        <p:nvPicPr>
          <p:cNvPr id="1263" name="Google Shape;1263;p39"/>
          <p:cNvPicPr preferRelativeResize="0"/>
          <p:nvPr/>
        </p:nvPicPr>
        <p:blipFill rotWithShape="1">
          <a:blip r:embed="rId3">
            <a:alphaModFix/>
          </a:blip>
          <a:srcRect l="7848" r="7848"/>
          <a:stretch/>
        </p:blipFill>
        <p:spPr>
          <a:xfrm>
            <a:off x="3851352" y="3853513"/>
            <a:ext cx="3567744" cy="2380499"/>
          </a:xfrm>
          <a:prstGeom prst="rect">
            <a:avLst/>
          </a:prstGeom>
          <a:noFill/>
          <a:ln>
            <a:noFill/>
          </a:ln>
        </p:spPr>
      </p:pic>
      <p:sp>
        <p:nvSpPr>
          <p:cNvPr id="1264" name="Google Shape;1264;p39"/>
          <p:cNvSpPr/>
          <p:nvPr/>
        </p:nvSpPr>
        <p:spPr>
          <a:xfrm>
            <a:off x="7152584" y="1252765"/>
            <a:ext cx="956470" cy="981630"/>
          </a:xfrm>
          <a:custGeom>
            <a:avLst/>
            <a:gdLst/>
            <a:ahLst/>
            <a:cxnLst/>
            <a:rect l="l" t="t" r="r" b="b"/>
            <a:pathLst>
              <a:path w="34117" h="34114" extrusionOk="0">
                <a:moveTo>
                  <a:pt x="16550" y="1"/>
                </a:moveTo>
                <a:cubicBezTo>
                  <a:pt x="16546" y="1"/>
                  <a:pt x="16541" y="1"/>
                  <a:pt x="16536" y="1"/>
                </a:cubicBezTo>
                <a:cubicBezTo>
                  <a:pt x="16277" y="9"/>
                  <a:pt x="16072" y="224"/>
                  <a:pt x="16079" y="487"/>
                </a:cubicBezTo>
                <a:cubicBezTo>
                  <a:pt x="16088" y="743"/>
                  <a:pt x="16296" y="943"/>
                  <a:pt x="16551" y="943"/>
                </a:cubicBezTo>
                <a:lnTo>
                  <a:pt x="16565" y="943"/>
                </a:lnTo>
                <a:cubicBezTo>
                  <a:pt x="16826" y="934"/>
                  <a:pt x="17031" y="717"/>
                  <a:pt x="17022" y="458"/>
                </a:cubicBezTo>
                <a:cubicBezTo>
                  <a:pt x="17014" y="201"/>
                  <a:pt x="16806" y="1"/>
                  <a:pt x="16550" y="1"/>
                </a:cubicBezTo>
                <a:close/>
                <a:moveTo>
                  <a:pt x="18442" y="54"/>
                </a:moveTo>
                <a:cubicBezTo>
                  <a:pt x="18201" y="54"/>
                  <a:pt x="17995" y="238"/>
                  <a:pt x="17975" y="487"/>
                </a:cubicBezTo>
                <a:cubicBezTo>
                  <a:pt x="17952" y="745"/>
                  <a:pt x="18145" y="971"/>
                  <a:pt x="18406" y="995"/>
                </a:cubicBezTo>
                <a:lnTo>
                  <a:pt x="18441" y="995"/>
                </a:lnTo>
                <a:cubicBezTo>
                  <a:pt x="18684" y="995"/>
                  <a:pt x="18893" y="808"/>
                  <a:pt x="18914" y="564"/>
                </a:cubicBezTo>
                <a:cubicBezTo>
                  <a:pt x="18937" y="306"/>
                  <a:pt x="18743" y="77"/>
                  <a:pt x="18483" y="56"/>
                </a:cubicBezTo>
                <a:cubicBezTo>
                  <a:pt x="18469" y="54"/>
                  <a:pt x="18455" y="54"/>
                  <a:pt x="18442" y="54"/>
                </a:cubicBezTo>
                <a:close/>
                <a:moveTo>
                  <a:pt x="14666" y="164"/>
                </a:moveTo>
                <a:cubicBezTo>
                  <a:pt x="14644" y="164"/>
                  <a:pt x="14621" y="166"/>
                  <a:pt x="14598" y="169"/>
                </a:cubicBezTo>
                <a:cubicBezTo>
                  <a:pt x="14340" y="207"/>
                  <a:pt x="14161" y="444"/>
                  <a:pt x="14197" y="705"/>
                </a:cubicBezTo>
                <a:cubicBezTo>
                  <a:pt x="14234" y="937"/>
                  <a:pt x="14432" y="1107"/>
                  <a:pt x="14665" y="1107"/>
                </a:cubicBezTo>
                <a:cubicBezTo>
                  <a:pt x="14686" y="1107"/>
                  <a:pt x="14709" y="1104"/>
                  <a:pt x="14731" y="1103"/>
                </a:cubicBezTo>
                <a:cubicBezTo>
                  <a:pt x="14988" y="1065"/>
                  <a:pt x="15169" y="827"/>
                  <a:pt x="15131" y="570"/>
                </a:cubicBezTo>
                <a:cubicBezTo>
                  <a:pt x="15097" y="335"/>
                  <a:pt x="14896" y="164"/>
                  <a:pt x="14666" y="164"/>
                </a:cubicBezTo>
                <a:close/>
                <a:moveTo>
                  <a:pt x="20319" y="316"/>
                </a:moveTo>
                <a:cubicBezTo>
                  <a:pt x="20098" y="316"/>
                  <a:pt x="19901" y="472"/>
                  <a:pt x="19857" y="695"/>
                </a:cubicBezTo>
                <a:cubicBezTo>
                  <a:pt x="19807" y="950"/>
                  <a:pt x="19972" y="1200"/>
                  <a:pt x="20227" y="1252"/>
                </a:cubicBezTo>
                <a:lnTo>
                  <a:pt x="20227" y="1249"/>
                </a:lnTo>
                <a:cubicBezTo>
                  <a:pt x="20259" y="1255"/>
                  <a:pt x="20289" y="1259"/>
                  <a:pt x="20320" y="1259"/>
                </a:cubicBezTo>
                <a:cubicBezTo>
                  <a:pt x="20540" y="1259"/>
                  <a:pt x="20737" y="1103"/>
                  <a:pt x="20783" y="880"/>
                </a:cubicBezTo>
                <a:cubicBezTo>
                  <a:pt x="20831" y="625"/>
                  <a:pt x="20667" y="376"/>
                  <a:pt x="20412" y="326"/>
                </a:cubicBezTo>
                <a:cubicBezTo>
                  <a:pt x="20381" y="319"/>
                  <a:pt x="20350" y="316"/>
                  <a:pt x="20319" y="316"/>
                </a:cubicBezTo>
                <a:close/>
                <a:moveTo>
                  <a:pt x="12809" y="542"/>
                </a:moveTo>
                <a:cubicBezTo>
                  <a:pt x="12769" y="542"/>
                  <a:pt x="12728" y="547"/>
                  <a:pt x="12687" y="558"/>
                </a:cubicBezTo>
                <a:cubicBezTo>
                  <a:pt x="12435" y="625"/>
                  <a:pt x="12286" y="881"/>
                  <a:pt x="12353" y="1133"/>
                </a:cubicBezTo>
                <a:cubicBezTo>
                  <a:pt x="12408" y="1343"/>
                  <a:pt x="12597" y="1484"/>
                  <a:pt x="12808" y="1484"/>
                </a:cubicBezTo>
                <a:cubicBezTo>
                  <a:pt x="12848" y="1484"/>
                  <a:pt x="12889" y="1479"/>
                  <a:pt x="12928" y="1467"/>
                </a:cubicBezTo>
                <a:cubicBezTo>
                  <a:pt x="13180" y="1400"/>
                  <a:pt x="13332" y="1145"/>
                  <a:pt x="13265" y="892"/>
                </a:cubicBezTo>
                <a:cubicBezTo>
                  <a:pt x="13207" y="682"/>
                  <a:pt x="13017" y="542"/>
                  <a:pt x="12809" y="542"/>
                </a:cubicBezTo>
                <a:close/>
                <a:moveTo>
                  <a:pt x="22155" y="793"/>
                </a:moveTo>
                <a:cubicBezTo>
                  <a:pt x="21955" y="793"/>
                  <a:pt x="21769" y="921"/>
                  <a:pt x="21704" y="1120"/>
                </a:cubicBezTo>
                <a:cubicBezTo>
                  <a:pt x="21622" y="1367"/>
                  <a:pt x="21760" y="1634"/>
                  <a:pt x="22008" y="1714"/>
                </a:cubicBezTo>
                <a:cubicBezTo>
                  <a:pt x="22056" y="1730"/>
                  <a:pt x="22105" y="1737"/>
                  <a:pt x="22152" y="1739"/>
                </a:cubicBezTo>
                <a:cubicBezTo>
                  <a:pt x="22352" y="1739"/>
                  <a:pt x="22536" y="1611"/>
                  <a:pt x="22602" y="1411"/>
                </a:cubicBezTo>
                <a:cubicBezTo>
                  <a:pt x="22683" y="1164"/>
                  <a:pt x="22545" y="896"/>
                  <a:pt x="22299" y="816"/>
                </a:cubicBezTo>
                <a:cubicBezTo>
                  <a:pt x="22251" y="800"/>
                  <a:pt x="22202" y="793"/>
                  <a:pt x="22155" y="793"/>
                </a:cubicBezTo>
                <a:close/>
                <a:moveTo>
                  <a:pt x="11010" y="1129"/>
                </a:moveTo>
                <a:cubicBezTo>
                  <a:pt x="10952" y="1129"/>
                  <a:pt x="10894" y="1140"/>
                  <a:pt x="10837" y="1162"/>
                </a:cubicBezTo>
                <a:cubicBezTo>
                  <a:pt x="10594" y="1256"/>
                  <a:pt x="10473" y="1529"/>
                  <a:pt x="10568" y="1772"/>
                </a:cubicBezTo>
                <a:cubicBezTo>
                  <a:pt x="10643" y="1959"/>
                  <a:pt x="10819" y="2071"/>
                  <a:pt x="11007" y="2071"/>
                </a:cubicBezTo>
                <a:cubicBezTo>
                  <a:pt x="11065" y="2071"/>
                  <a:pt x="11122" y="2061"/>
                  <a:pt x="11178" y="2038"/>
                </a:cubicBezTo>
                <a:cubicBezTo>
                  <a:pt x="11421" y="1944"/>
                  <a:pt x="11543" y="1670"/>
                  <a:pt x="11449" y="1428"/>
                </a:cubicBezTo>
                <a:cubicBezTo>
                  <a:pt x="11374" y="1242"/>
                  <a:pt x="11197" y="1129"/>
                  <a:pt x="11010" y="1129"/>
                </a:cubicBezTo>
                <a:close/>
                <a:moveTo>
                  <a:pt x="23921" y="1478"/>
                </a:moveTo>
                <a:cubicBezTo>
                  <a:pt x="23743" y="1478"/>
                  <a:pt x="23571" y="1581"/>
                  <a:pt x="23492" y="1754"/>
                </a:cubicBezTo>
                <a:cubicBezTo>
                  <a:pt x="23384" y="1991"/>
                  <a:pt x="23487" y="2270"/>
                  <a:pt x="23726" y="2378"/>
                </a:cubicBezTo>
                <a:cubicBezTo>
                  <a:pt x="23789" y="2407"/>
                  <a:pt x="23855" y="2420"/>
                  <a:pt x="23920" y="2420"/>
                </a:cubicBezTo>
                <a:cubicBezTo>
                  <a:pt x="24097" y="2420"/>
                  <a:pt x="24269" y="2319"/>
                  <a:pt x="24349" y="2144"/>
                </a:cubicBezTo>
                <a:cubicBezTo>
                  <a:pt x="24457" y="1907"/>
                  <a:pt x="24351" y="1628"/>
                  <a:pt x="24116" y="1520"/>
                </a:cubicBezTo>
                <a:lnTo>
                  <a:pt x="24114" y="1520"/>
                </a:lnTo>
                <a:cubicBezTo>
                  <a:pt x="24052" y="1492"/>
                  <a:pt x="23986" y="1478"/>
                  <a:pt x="23921" y="1478"/>
                </a:cubicBezTo>
                <a:close/>
                <a:moveTo>
                  <a:pt x="9287" y="1920"/>
                </a:moveTo>
                <a:cubicBezTo>
                  <a:pt x="9212" y="1920"/>
                  <a:pt x="9136" y="1938"/>
                  <a:pt x="9066" y="1976"/>
                </a:cubicBezTo>
                <a:cubicBezTo>
                  <a:pt x="8833" y="2095"/>
                  <a:pt x="8747" y="2379"/>
                  <a:pt x="8870" y="2611"/>
                </a:cubicBezTo>
                <a:cubicBezTo>
                  <a:pt x="8955" y="2772"/>
                  <a:pt x="9119" y="2862"/>
                  <a:pt x="9287" y="2863"/>
                </a:cubicBezTo>
                <a:cubicBezTo>
                  <a:pt x="9362" y="2863"/>
                  <a:pt x="9438" y="2847"/>
                  <a:pt x="9507" y="2809"/>
                </a:cubicBezTo>
                <a:cubicBezTo>
                  <a:pt x="9740" y="2686"/>
                  <a:pt x="9826" y="2401"/>
                  <a:pt x="9703" y="2170"/>
                </a:cubicBezTo>
                <a:cubicBezTo>
                  <a:pt x="9618" y="2010"/>
                  <a:pt x="9455" y="1920"/>
                  <a:pt x="9287" y="1920"/>
                </a:cubicBezTo>
                <a:close/>
                <a:moveTo>
                  <a:pt x="25598" y="2359"/>
                </a:moveTo>
                <a:cubicBezTo>
                  <a:pt x="25438" y="2359"/>
                  <a:pt x="25282" y="2441"/>
                  <a:pt x="25193" y="2587"/>
                </a:cubicBezTo>
                <a:cubicBezTo>
                  <a:pt x="25058" y="2810"/>
                  <a:pt x="25131" y="3100"/>
                  <a:pt x="25353" y="3235"/>
                </a:cubicBezTo>
                <a:lnTo>
                  <a:pt x="25354" y="3235"/>
                </a:lnTo>
                <a:cubicBezTo>
                  <a:pt x="25430" y="3281"/>
                  <a:pt x="25512" y="3304"/>
                  <a:pt x="25595" y="3305"/>
                </a:cubicBezTo>
                <a:cubicBezTo>
                  <a:pt x="25756" y="3305"/>
                  <a:pt x="25914" y="3222"/>
                  <a:pt x="26002" y="3076"/>
                </a:cubicBezTo>
                <a:cubicBezTo>
                  <a:pt x="26136" y="2853"/>
                  <a:pt x="26064" y="2561"/>
                  <a:pt x="25843" y="2428"/>
                </a:cubicBezTo>
                <a:cubicBezTo>
                  <a:pt x="25766" y="2382"/>
                  <a:pt x="25681" y="2359"/>
                  <a:pt x="25598" y="2359"/>
                </a:cubicBezTo>
                <a:close/>
                <a:moveTo>
                  <a:pt x="7668" y="2899"/>
                </a:moveTo>
                <a:cubicBezTo>
                  <a:pt x="7575" y="2899"/>
                  <a:pt x="7482" y="2926"/>
                  <a:pt x="7399" y="2983"/>
                </a:cubicBezTo>
                <a:cubicBezTo>
                  <a:pt x="7185" y="3131"/>
                  <a:pt x="7132" y="3425"/>
                  <a:pt x="7281" y="3639"/>
                </a:cubicBezTo>
                <a:cubicBezTo>
                  <a:pt x="7371" y="3771"/>
                  <a:pt x="7515" y="3842"/>
                  <a:pt x="7665" y="3842"/>
                </a:cubicBezTo>
                <a:cubicBezTo>
                  <a:pt x="7666" y="3842"/>
                  <a:pt x="7668" y="3842"/>
                  <a:pt x="7669" y="3842"/>
                </a:cubicBezTo>
                <a:cubicBezTo>
                  <a:pt x="7760" y="3842"/>
                  <a:pt x="7851" y="3814"/>
                  <a:pt x="7935" y="3757"/>
                </a:cubicBezTo>
                <a:cubicBezTo>
                  <a:pt x="8149" y="3612"/>
                  <a:pt x="8204" y="3317"/>
                  <a:pt x="8058" y="3103"/>
                </a:cubicBezTo>
                <a:cubicBezTo>
                  <a:pt x="7965" y="2970"/>
                  <a:pt x="7818" y="2899"/>
                  <a:pt x="7668" y="2899"/>
                </a:cubicBezTo>
                <a:close/>
                <a:moveTo>
                  <a:pt x="27162" y="3429"/>
                </a:moveTo>
                <a:cubicBezTo>
                  <a:pt x="27020" y="3429"/>
                  <a:pt x="26879" y="3492"/>
                  <a:pt x="26787" y="3613"/>
                </a:cubicBezTo>
                <a:cubicBezTo>
                  <a:pt x="26628" y="3818"/>
                  <a:pt x="26667" y="4116"/>
                  <a:pt x="26872" y="4273"/>
                </a:cubicBezTo>
                <a:cubicBezTo>
                  <a:pt x="26958" y="4339"/>
                  <a:pt x="27057" y="4369"/>
                  <a:pt x="27152" y="4369"/>
                </a:cubicBezTo>
                <a:cubicBezTo>
                  <a:pt x="27154" y="4369"/>
                  <a:pt x="27156" y="4369"/>
                  <a:pt x="27159" y="4369"/>
                </a:cubicBezTo>
                <a:cubicBezTo>
                  <a:pt x="27301" y="4369"/>
                  <a:pt x="27440" y="4310"/>
                  <a:pt x="27535" y="4185"/>
                </a:cubicBezTo>
                <a:cubicBezTo>
                  <a:pt x="27692" y="3980"/>
                  <a:pt x="27654" y="3683"/>
                  <a:pt x="27447" y="3525"/>
                </a:cubicBezTo>
                <a:cubicBezTo>
                  <a:pt x="27362" y="3460"/>
                  <a:pt x="27262" y="3429"/>
                  <a:pt x="27162" y="3429"/>
                </a:cubicBezTo>
                <a:close/>
                <a:moveTo>
                  <a:pt x="6172" y="4059"/>
                </a:moveTo>
                <a:cubicBezTo>
                  <a:pt x="6062" y="4059"/>
                  <a:pt x="5951" y="4098"/>
                  <a:pt x="5862" y="4176"/>
                </a:cubicBezTo>
                <a:lnTo>
                  <a:pt x="5862" y="4175"/>
                </a:lnTo>
                <a:cubicBezTo>
                  <a:pt x="5664" y="4348"/>
                  <a:pt x="5643" y="4645"/>
                  <a:pt x="5816" y="4843"/>
                </a:cubicBezTo>
                <a:cubicBezTo>
                  <a:pt x="5907" y="4949"/>
                  <a:pt x="6039" y="5002"/>
                  <a:pt x="6173" y="5003"/>
                </a:cubicBezTo>
                <a:cubicBezTo>
                  <a:pt x="6281" y="5003"/>
                  <a:pt x="6393" y="4965"/>
                  <a:pt x="6481" y="4888"/>
                </a:cubicBezTo>
                <a:cubicBezTo>
                  <a:pt x="6677" y="4715"/>
                  <a:pt x="6699" y="4418"/>
                  <a:pt x="6526" y="4222"/>
                </a:cubicBezTo>
                <a:cubicBezTo>
                  <a:pt x="6434" y="4114"/>
                  <a:pt x="6303" y="4059"/>
                  <a:pt x="6172" y="4059"/>
                </a:cubicBezTo>
                <a:close/>
                <a:moveTo>
                  <a:pt x="28595" y="4666"/>
                </a:moveTo>
                <a:cubicBezTo>
                  <a:pt x="28472" y="4666"/>
                  <a:pt x="28349" y="4714"/>
                  <a:pt x="28258" y="4811"/>
                </a:cubicBezTo>
                <a:cubicBezTo>
                  <a:pt x="28076" y="4997"/>
                  <a:pt x="28082" y="5298"/>
                  <a:pt x="28267" y="5475"/>
                </a:cubicBezTo>
                <a:cubicBezTo>
                  <a:pt x="28358" y="5565"/>
                  <a:pt x="28476" y="5611"/>
                  <a:pt x="28593" y="5611"/>
                </a:cubicBezTo>
                <a:cubicBezTo>
                  <a:pt x="28716" y="5611"/>
                  <a:pt x="28842" y="5562"/>
                  <a:pt x="28933" y="5466"/>
                </a:cubicBezTo>
                <a:cubicBezTo>
                  <a:pt x="29115" y="5280"/>
                  <a:pt x="29109" y="4981"/>
                  <a:pt x="28921" y="4799"/>
                </a:cubicBezTo>
                <a:cubicBezTo>
                  <a:pt x="28831" y="4710"/>
                  <a:pt x="28713" y="4666"/>
                  <a:pt x="28595" y="4666"/>
                </a:cubicBezTo>
                <a:close/>
                <a:moveTo>
                  <a:pt x="4814" y="5381"/>
                </a:moveTo>
                <a:cubicBezTo>
                  <a:pt x="4686" y="5381"/>
                  <a:pt x="4559" y="5433"/>
                  <a:pt x="4467" y="5535"/>
                </a:cubicBezTo>
                <a:cubicBezTo>
                  <a:pt x="4291" y="5726"/>
                  <a:pt x="4303" y="6026"/>
                  <a:pt x="4496" y="6201"/>
                </a:cubicBezTo>
                <a:cubicBezTo>
                  <a:pt x="4584" y="6284"/>
                  <a:pt x="4701" y="6324"/>
                  <a:pt x="4813" y="6325"/>
                </a:cubicBezTo>
                <a:cubicBezTo>
                  <a:pt x="4940" y="6325"/>
                  <a:pt x="5068" y="6272"/>
                  <a:pt x="5164" y="6172"/>
                </a:cubicBezTo>
                <a:cubicBezTo>
                  <a:pt x="5338" y="5981"/>
                  <a:pt x="5326" y="5680"/>
                  <a:pt x="5133" y="5504"/>
                </a:cubicBezTo>
                <a:cubicBezTo>
                  <a:pt x="5042" y="5422"/>
                  <a:pt x="4928" y="5381"/>
                  <a:pt x="4814" y="5381"/>
                </a:cubicBezTo>
                <a:close/>
                <a:moveTo>
                  <a:pt x="29879" y="6062"/>
                </a:moveTo>
                <a:cubicBezTo>
                  <a:pt x="29774" y="6062"/>
                  <a:pt x="29668" y="6097"/>
                  <a:pt x="29580" y="6169"/>
                </a:cubicBezTo>
                <a:cubicBezTo>
                  <a:pt x="29376" y="6333"/>
                  <a:pt x="29349" y="6629"/>
                  <a:pt x="29513" y="6831"/>
                </a:cubicBezTo>
                <a:cubicBezTo>
                  <a:pt x="29608" y="6943"/>
                  <a:pt x="29744" y="7001"/>
                  <a:pt x="29877" y="7004"/>
                </a:cubicBezTo>
                <a:cubicBezTo>
                  <a:pt x="29982" y="7004"/>
                  <a:pt x="30088" y="6967"/>
                  <a:pt x="30178" y="6898"/>
                </a:cubicBezTo>
                <a:cubicBezTo>
                  <a:pt x="30378" y="6732"/>
                  <a:pt x="30407" y="6436"/>
                  <a:pt x="30241" y="6233"/>
                </a:cubicBezTo>
                <a:cubicBezTo>
                  <a:pt x="30149" y="6120"/>
                  <a:pt x="30015" y="6062"/>
                  <a:pt x="29879" y="6062"/>
                </a:cubicBezTo>
                <a:close/>
                <a:moveTo>
                  <a:pt x="3616" y="6848"/>
                </a:moveTo>
                <a:cubicBezTo>
                  <a:pt x="3470" y="6848"/>
                  <a:pt x="3326" y="6915"/>
                  <a:pt x="3233" y="7043"/>
                </a:cubicBezTo>
                <a:cubicBezTo>
                  <a:pt x="3080" y="7253"/>
                  <a:pt x="3127" y="7547"/>
                  <a:pt x="3339" y="7702"/>
                </a:cubicBezTo>
                <a:cubicBezTo>
                  <a:pt x="3417" y="7761"/>
                  <a:pt x="3509" y="7790"/>
                  <a:pt x="3603" y="7790"/>
                </a:cubicBezTo>
                <a:cubicBezTo>
                  <a:pt x="3608" y="7790"/>
                  <a:pt x="3612" y="7790"/>
                  <a:pt x="3617" y="7790"/>
                </a:cubicBezTo>
                <a:cubicBezTo>
                  <a:pt x="3763" y="7790"/>
                  <a:pt x="3907" y="7725"/>
                  <a:pt x="3998" y="7597"/>
                </a:cubicBezTo>
                <a:cubicBezTo>
                  <a:pt x="4150" y="7385"/>
                  <a:pt x="4104" y="7090"/>
                  <a:pt x="3893" y="6937"/>
                </a:cubicBezTo>
                <a:cubicBezTo>
                  <a:pt x="3809" y="6877"/>
                  <a:pt x="3712" y="6848"/>
                  <a:pt x="3616" y="6848"/>
                </a:cubicBezTo>
                <a:close/>
                <a:moveTo>
                  <a:pt x="30997" y="7588"/>
                </a:moveTo>
                <a:cubicBezTo>
                  <a:pt x="30909" y="7588"/>
                  <a:pt x="30820" y="7612"/>
                  <a:pt x="30741" y="7664"/>
                </a:cubicBezTo>
                <a:cubicBezTo>
                  <a:pt x="30521" y="7805"/>
                  <a:pt x="30457" y="8098"/>
                  <a:pt x="30598" y="8314"/>
                </a:cubicBezTo>
                <a:cubicBezTo>
                  <a:pt x="30688" y="8455"/>
                  <a:pt x="30838" y="8531"/>
                  <a:pt x="30994" y="8531"/>
                </a:cubicBezTo>
                <a:cubicBezTo>
                  <a:pt x="30996" y="8531"/>
                  <a:pt x="30997" y="8531"/>
                  <a:pt x="30999" y="8531"/>
                </a:cubicBezTo>
                <a:cubicBezTo>
                  <a:pt x="31087" y="8531"/>
                  <a:pt x="31173" y="8505"/>
                  <a:pt x="31254" y="8455"/>
                </a:cubicBezTo>
                <a:cubicBezTo>
                  <a:pt x="31471" y="8314"/>
                  <a:pt x="31534" y="8022"/>
                  <a:pt x="31392" y="7802"/>
                </a:cubicBezTo>
                <a:cubicBezTo>
                  <a:pt x="31301" y="7664"/>
                  <a:pt x="31151" y="7588"/>
                  <a:pt x="30997" y="7588"/>
                </a:cubicBezTo>
                <a:close/>
                <a:moveTo>
                  <a:pt x="2592" y="8445"/>
                </a:moveTo>
                <a:cubicBezTo>
                  <a:pt x="2429" y="8445"/>
                  <a:pt x="2269" y="8531"/>
                  <a:pt x="2183" y="8684"/>
                </a:cubicBezTo>
                <a:cubicBezTo>
                  <a:pt x="2052" y="8910"/>
                  <a:pt x="2133" y="9198"/>
                  <a:pt x="2359" y="9327"/>
                </a:cubicBezTo>
                <a:cubicBezTo>
                  <a:pt x="2432" y="9367"/>
                  <a:pt x="2512" y="9387"/>
                  <a:pt x="2591" y="9387"/>
                </a:cubicBezTo>
                <a:cubicBezTo>
                  <a:pt x="2755" y="9387"/>
                  <a:pt x="2914" y="9303"/>
                  <a:pt x="3002" y="9148"/>
                </a:cubicBezTo>
                <a:lnTo>
                  <a:pt x="3002" y="9147"/>
                </a:lnTo>
                <a:cubicBezTo>
                  <a:pt x="3131" y="8921"/>
                  <a:pt x="3049" y="8632"/>
                  <a:pt x="2823" y="8506"/>
                </a:cubicBezTo>
                <a:cubicBezTo>
                  <a:pt x="2750" y="8465"/>
                  <a:pt x="2671" y="8445"/>
                  <a:pt x="2592" y="8445"/>
                </a:cubicBezTo>
                <a:close/>
                <a:moveTo>
                  <a:pt x="31931" y="9234"/>
                </a:moveTo>
                <a:cubicBezTo>
                  <a:pt x="31860" y="9234"/>
                  <a:pt x="31789" y="9250"/>
                  <a:pt x="31721" y="9283"/>
                </a:cubicBezTo>
                <a:cubicBezTo>
                  <a:pt x="31489" y="9399"/>
                  <a:pt x="31393" y="9683"/>
                  <a:pt x="31509" y="9915"/>
                </a:cubicBezTo>
                <a:cubicBezTo>
                  <a:pt x="31591" y="10080"/>
                  <a:pt x="31758" y="10177"/>
                  <a:pt x="31931" y="10177"/>
                </a:cubicBezTo>
                <a:cubicBezTo>
                  <a:pt x="32002" y="10177"/>
                  <a:pt x="32073" y="10161"/>
                  <a:pt x="32142" y="10127"/>
                </a:cubicBezTo>
                <a:cubicBezTo>
                  <a:pt x="32374" y="10012"/>
                  <a:pt x="32469" y="9731"/>
                  <a:pt x="32354" y="9497"/>
                </a:cubicBezTo>
                <a:lnTo>
                  <a:pt x="32354" y="9496"/>
                </a:lnTo>
                <a:cubicBezTo>
                  <a:pt x="32271" y="9330"/>
                  <a:pt x="32104" y="9234"/>
                  <a:pt x="31931" y="9234"/>
                </a:cubicBezTo>
                <a:close/>
                <a:moveTo>
                  <a:pt x="1758" y="10142"/>
                </a:moveTo>
                <a:cubicBezTo>
                  <a:pt x="1573" y="10142"/>
                  <a:pt x="1397" y="10251"/>
                  <a:pt x="1321" y="10431"/>
                </a:cubicBezTo>
                <a:cubicBezTo>
                  <a:pt x="1220" y="10672"/>
                  <a:pt x="1333" y="10950"/>
                  <a:pt x="1574" y="11050"/>
                </a:cubicBezTo>
                <a:cubicBezTo>
                  <a:pt x="1632" y="11076"/>
                  <a:pt x="1697" y="11088"/>
                  <a:pt x="1758" y="11088"/>
                </a:cubicBezTo>
                <a:cubicBezTo>
                  <a:pt x="1941" y="11088"/>
                  <a:pt x="2116" y="10980"/>
                  <a:pt x="2192" y="10798"/>
                </a:cubicBezTo>
                <a:cubicBezTo>
                  <a:pt x="2292" y="10558"/>
                  <a:pt x="2181" y="10279"/>
                  <a:pt x="1940" y="10179"/>
                </a:cubicBezTo>
                <a:cubicBezTo>
                  <a:pt x="1880" y="10154"/>
                  <a:pt x="1819" y="10142"/>
                  <a:pt x="1758" y="10142"/>
                </a:cubicBezTo>
                <a:close/>
                <a:moveTo>
                  <a:pt x="32672" y="10978"/>
                </a:moveTo>
                <a:cubicBezTo>
                  <a:pt x="32619" y="10978"/>
                  <a:pt x="32566" y="10987"/>
                  <a:pt x="32513" y="11006"/>
                </a:cubicBezTo>
                <a:cubicBezTo>
                  <a:pt x="32268" y="11094"/>
                  <a:pt x="32142" y="11364"/>
                  <a:pt x="32228" y="11610"/>
                </a:cubicBezTo>
                <a:cubicBezTo>
                  <a:pt x="32297" y="11799"/>
                  <a:pt x="32475" y="11920"/>
                  <a:pt x="32666" y="11920"/>
                </a:cubicBezTo>
                <a:cubicBezTo>
                  <a:pt x="32667" y="11920"/>
                  <a:pt x="32669" y="11920"/>
                  <a:pt x="32670" y="11920"/>
                </a:cubicBezTo>
                <a:cubicBezTo>
                  <a:pt x="32726" y="11920"/>
                  <a:pt x="32781" y="11911"/>
                  <a:pt x="32832" y="11892"/>
                </a:cubicBezTo>
                <a:cubicBezTo>
                  <a:pt x="33076" y="11804"/>
                  <a:pt x="33204" y="11536"/>
                  <a:pt x="33116" y="11291"/>
                </a:cubicBezTo>
                <a:cubicBezTo>
                  <a:pt x="33046" y="11098"/>
                  <a:pt x="32865" y="10978"/>
                  <a:pt x="32672" y="10978"/>
                </a:cubicBezTo>
                <a:close/>
                <a:moveTo>
                  <a:pt x="1122" y="11930"/>
                </a:moveTo>
                <a:cubicBezTo>
                  <a:pt x="920" y="11930"/>
                  <a:pt x="731" y="12064"/>
                  <a:pt x="668" y="12270"/>
                </a:cubicBezTo>
                <a:cubicBezTo>
                  <a:pt x="598" y="12521"/>
                  <a:pt x="738" y="12780"/>
                  <a:pt x="988" y="12855"/>
                </a:cubicBezTo>
                <a:cubicBezTo>
                  <a:pt x="1032" y="12865"/>
                  <a:pt x="1078" y="12873"/>
                  <a:pt x="1120" y="12873"/>
                </a:cubicBezTo>
                <a:cubicBezTo>
                  <a:pt x="1325" y="12873"/>
                  <a:pt x="1515" y="12738"/>
                  <a:pt x="1576" y="12533"/>
                </a:cubicBezTo>
                <a:cubicBezTo>
                  <a:pt x="1647" y="12283"/>
                  <a:pt x="1504" y="12021"/>
                  <a:pt x="1252" y="11949"/>
                </a:cubicBezTo>
                <a:cubicBezTo>
                  <a:pt x="1209" y="11936"/>
                  <a:pt x="1165" y="11930"/>
                  <a:pt x="1122" y="11930"/>
                </a:cubicBezTo>
                <a:close/>
                <a:moveTo>
                  <a:pt x="33206" y="12794"/>
                </a:moveTo>
                <a:cubicBezTo>
                  <a:pt x="33171" y="12794"/>
                  <a:pt x="33136" y="12798"/>
                  <a:pt x="33101" y="12806"/>
                </a:cubicBezTo>
                <a:cubicBezTo>
                  <a:pt x="32847" y="12865"/>
                  <a:pt x="32689" y="13120"/>
                  <a:pt x="32749" y="13372"/>
                </a:cubicBezTo>
                <a:cubicBezTo>
                  <a:pt x="32802" y="13591"/>
                  <a:pt x="32995" y="13738"/>
                  <a:pt x="33207" y="13738"/>
                </a:cubicBezTo>
                <a:cubicBezTo>
                  <a:pt x="33242" y="13738"/>
                  <a:pt x="33277" y="13732"/>
                  <a:pt x="33315" y="13723"/>
                </a:cubicBezTo>
                <a:cubicBezTo>
                  <a:pt x="33568" y="13664"/>
                  <a:pt x="33725" y="13412"/>
                  <a:pt x="33667" y="13158"/>
                </a:cubicBezTo>
                <a:cubicBezTo>
                  <a:pt x="33616" y="12940"/>
                  <a:pt x="33420" y="12794"/>
                  <a:pt x="33206" y="12794"/>
                </a:cubicBezTo>
                <a:close/>
                <a:moveTo>
                  <a:pt x="698" y="13774"/>
                </a:moveTo>
                <a:cubicBezTo>
                  <a:pt x="473" y="13774"/>
                  <a:pt x="273" y="13936"/>
                  <a:pt x="232" y="14168"/>
                </a:cubicBezTo>
                <a:cubicBezTo>
                  <a:pt x="190" y="14423"/>
                  <a:pt x="363" y="14665"/>
                  <a:pt x="619" y="14711"/>
                </a:cubicBezTo>
                <a:cubicBezTo>
                  <a:pt x="644" y="14717"/>
                  <a:pt x="671" y="14719"/>
                  <a:pt x="697" y="14719"/>
                </a:cubicBezTo>
                <a:cubicBezTo>
                  <a:pt x="923" y="14719"/>
                  <a:pt x="1123" y="14556"/>
                  <a:pt x="1161" y="14324"/>
                </a:cubicBezTo>
                <a:cubicBezTo>
                  <a:pt x="1205" y="14069"/>
                  <a:pt x="1034" y="13826"/>
                  <a:pt x="776" y="13781"/>
                </a:cubicBezTo>
                <a:cubicBezTo>
                  <a:pt x="750" y="13776"/>
                  <a:pt x="724" y="13774"/>
                  <a:pt x="698" y="13774"/>
                </a:cubicBezTo>
                <a:close/>
                <a:moveTo>
                  <a:pt x="33534" y="14659"/>
                </a:moveTo>
                <a:cubicBezTo>
                  <a:pt x="33516" y="14659"/>
                  <a:pt x="33498" y="14660"/>
                  <a:pt x="33480" y="14662"/>
                </a:cubicBezTo>
                <a:cubicBezTo>
                  <a:pt x="33221" y="14693"/>
                  <a:pt x="33034" y="14926"/>
                  <a:pt x="33064" y="15186"/>
                </a:cubicBezTo>
                <a:cubicBezTo>
                  <a:pt x="33093" y="15427"/>
                  <a:pt x="33297" y="15603"/>
                  <a:pt x="33535" y="15605"/>
                </a:cubicBezTo>
                <a:cubicBezTo>
                  <a:pt x="33553" y="15605"/>
                  <a:pt x="33571" y="15600"/>
                  <a:pt x="33591" y="15599"/>
                </a:cubicBezTo>
                <a:cubicBezTo>
                  <a:pt x="33849" y="15570"/>
                  <a:pt x="34033" y="15338"/>
                  <a:pt x="34002" y="15077"/>
                </a:cubicBezTo>
                <a:cubicBezTo>
                  <a:pt x="33975" y="14835"/>
                  <a:pt x="33771" y="14659"/>
                  <a:pt x="33534" y="14659"/>
                </a:cubicBezTo>
                <a:close/>
                <a:moveTo>
                  <a:pt x="483" y="15657"/>
                </a:moveTo>
                <a:cubicBezTo>
                  <a:pt x="235" y="15657"/>
                  <a:pt x="27" y="15850"/>
                  <a:pt x="14" y="16104"/>
                </a:cubicBezTo>
                <a:cubicBezTo>
                  <a:pt x="0" y="16364"/>
                  <a:pt x="197" y="16584"/>
                  <a:pt x="457" y="16601"/>
                </a:cubicBezTo>
                <a:lnTo>
                  <a:pt x="483" y="16601"/>
                </a:lnTo>
                <a:cubicBezTo>
                  <a:pt x="733" y="16601"/>
                  <a:pt x="941" y="16406"/>
                  <a:pt x="955" y="16156"/>
                </a:cubicBezTo>
                <a:cubicBezTo>
                  <a:pt x="968" y="15898"/>
                  <a:pt x="771" y="15673"/>
                  <a:pt x="509" y="15658"/>
                </a:cubicBezTo>
                <a:cubicBezTo>
                  <a:pt x="500" y="15658"/>
                  <a:pt x="492" y="15657"/>
                  <a:pt x="483" y="15657"/>
                </a:cubicBezTo>
                <a:close/>
                <a:moveTo>
                  <a:pt x="33641" y="16550"/>
                </a:moveTo>
                <a:cubicBezTo>
                  <a:pt x="33383" y="16550"/>
                  <a:pt x="33171" y="16763"/>
                  <a:pt x="33174" y="17022"/>
                </a:cubicBezTo>
                <a:lnTo>
                  <a:pt x="33174" y="17039"/>
                </a:lnTo>
                <a:lnTo>
                  <a:pt x="33174" y="17059"/>
                </a:lnTo>
                <a:cubicBezTo>
                  <a:pt x="33174" y="17317"/>
                  <a:pt x="33383" y="17529"/>
                  <a:pt x="33644" y="17531"/>
                </a:cubicBezTo>
                <a:cubicBezTo>
                  <a:pt x="33904" y="17531"/>
                  <a:pt x="34116" y="17318"/>
                  <a:pt x="34116" y="17059"/>
                </a:cubicBezTo>
                <a:lnTo>
                  <a:pt x="34116" y="17039"/>
                </a:lnTo>
                <a:lnTo>
                  <a:pt x="34116" y="17022"/>
                </a:lnTo>
                <a:cubicBezTo>
                  <a:pt x="34115" y="16760"/>
                  <a:pt x="33904" y="16550"/>
                  <a:pt x="33641" y="16550"/>
                </a:cubicBezTo>
                <a:close/>
                <a:moveTo>
                  <a:pt x="485" y="17551"/>
                </a:moveTo>
                <a:cubicBezTo>
                  <a:pt x="477" y="17551"/>
                  <a:pt x="469" y="17552"/>
                  <a:pt x="460" y="17552"/>
                </a:cubicBezTo>
                <a:cubicBezTo>
                  <a:pt x="197" y="17567"/>
                  <a:pt x="0" y="17789"/>
                  <a:pt x="14" y="18050"/>
                </a:cubicBezTo>
                <a:lnTo>
                  <a:pt x="14" y="18050"/>
                </a:lnTo>
                <a:lnTo>
                  <a:pt x="14" y="18048"/>
                </a:lnTo>
                <a:cubicBezTo>
                  <a:pt x="31" y="18300"/>
                  <a:pt x="240" y="18495"/>
                  <a:pt x="484" y="18495"/>
                </a:cubicBezTo>
                <a:lnTo>
                  <a:pt x="513" y="18495"/>
                </a:lnTo>
                <a:cubicBezTo>
                  <a:pt x="773" y="18479"/>
                  <a:pt x="970" y="18258"/>
                  <a:pt x="956" y="17997"/>
                </a:cubicBezTo>
                <a:cubicBezTo>
                  <a:pt x="942" y="17744"/>
                  <a:pt x="734" y="17551"/>
                  <a:pt x="485" y="17551"/>
                </a:cubicBezTo>
                <a:close/>
                <a:moveTo>
                  <a:pt x="33537" y="18477"/>
                </a:moveTo>
                <a:cubicBezTo>
                  <a:pt x="33299" y="18477"/>
                  <a:pt x="33096" y="18652"/>
                  <a:pt x="33069" y="18895"/>
                </a:cubicBezTo>
                <a:cubicBezTo>
                  <a:pt x="33039" y="19155"/>
                  <a:pt x="33224" y="19389"/>
                  <a:pt x="33485" y="19416"/>
                </a:cubicBezTo>
                <a:cubicBezTo>
                  <a:pt x="33503" y="19419"/>
                  <a:pt x="33520" y="19420"/>
                  <a:pt x="33539" y="19420"/>
                </a:cubicBezTo>
                <a:cubicBezTo>
                  <a:pt x="33775" y="19420"/>
                  <a:pt x="33980" y="19241"/>
                  <a:pt x="34005" y="19002"/>
                </a:cubicBezTo>
                <a:cubicBezTo>
                  <a:pt x="34036" y="18744"/>
                  <a:pt x="33851" y="18508"/>
                  <a:pt x="33591" y="18479"/>
                </a:cubicBezTo>
                <a:cubicBezTo>
                  <a:pt x="33573" y="18477"/>
                  <a:pt x="33555" y="18477"/>
                  <a:pt x="33537" y="18477"/>
                </a:cubicBezTo>
                <a:close/>
                <a:moveTo>
                  <a:pt x="706" y="19431"/>
                </a:moveTo>
                <a:cubicBezTo>
                  <a:pt x="679" y="19431"/>
                  <a:pt x="652" y="19434"/>
                  <a:pt x="624" y="19439"/>
                </a:cubicBezTo>
                <a:cubicBezTo>
                  <a:pt x="367" y="19484"/>
                  <a:pt x="194" y="19727"/>
                  <a:pt x="240" y="19984"/>
                </a:cubicBezTo>
                <a:cubicBezTo>
                  <a:pt x="276" y="20213"/>
                  <a:pt x="477" y="20375"/>
                  <a:pt x="704" y="20377"/>
                </a:cubicBezTo>
                <a:cubicBezTo>
                  <a:pt x="729" y="20377"/>
                  <a:pt x="756" y="20372"/>
                  <a:pt x="785" y="20369"/>
                </a:cubicBezTo>
                <a:cubicBezTo>
                  <a:pt x="1041" y="20324"/>
                  <a:pt x="1214" y="20082"/>
                  <a:pt x="1169" y="19824"/>
                </a:cubicBezTo>
                <a:cubicBezTo>
                  <a:pt x="1128" y="19594"/>
                  <a:pt x="930" y="19431"/>
                  <a:pt x="706" y="19431"/>
                </a:cubicBezTo>
                <a:close/>
                <a:moveTo>
                  <a:pt x="33216" y="20345"/>
                </a:moveTo>
                <a:cubicBezTo>
                  <a:pt x="33002" y="20345"/>
                  <a:pt x="32809" y="20491"/>
                  <a:pt x="32758" y="20709"/>
                </a:cubicBezTo>
                <a:cubicBezTo>
                  <a:pt x="32699" y="20963"/>
                  <a:pt x="32856" y="21214"/>
                  <a:pt x="33108" y="21274"/>
                </a:cubicBezTo>
                <a:cubicBezTo>
                  <a:pt x="33146" y="21283"/>
                  <a:pt x="33183" y="21286"/>
                  <a:pt x="33216" y="21286"/>
                </a:cubicBezTo>
                <a:cubicBezTo>
                  <a:pt x="33432" y="21286"/>
                  <a:pt x="33624" y="21139"/>
                  <a:pt x="33674" y="20923"/>
                </a:cubicBezTo>
                <a:cubicBezTo>
                  <a:pt x="33732" y="20668"/>
                  <a:pt x="33576" y="20415"/>
                  <a:pt x="33322" y="20357"/>
                </a:cubicBezTo>
                <a:cubicBezTo>
                  <a:pt x="33287" y="20349"/>
                  <a:pt x="33251" y="20345"/>
                  <a:pt x="33216" y="20345"/>
                </a:cubicBezTo>
                <a:close/>
                <a:moveTo>
                  <a:pt x="1135" y="21278"/>
                </a:moveTo>
                <a:cubicBezTo>
                  <a:pt x="1090" y="21278"/>
                  <a:pt x="1044" y="21284"/>
                  <a:pt x="999" y="21298"/>
                </a:cubicBezTo>
                <a:cubicBezTo>
                  <a:pt x="748" y="21371"/>
                  <a:pt x="606" y="21632"/>
                  <a:pt x="680" y="21882"/>
                </a:cubicBezTo>
                <a:cubicBezTo>
                  <a:pt x="741" y="22087"/>
                  <a:pt x="926" y="22219"/>
                  <a:pt x="1131" y="22221"/>
                </a:cubicBezTo>
                <a:cubicBezTo>
                  <a:pt x="1175" y="22221"/>
                  <a:pt x="1219" y="22216"/>
                  <a:pt x="1264" y="22201"/>
                </a:cubicBezTo>
                <a:cubicBezTo>
                  <a:pt x="1515" y="22130"/>
                  <a:pt x="1659" y="21867"/>
                  <a:pt x="1585" y="21617"/>
                </a:cubicBezTo>
                <a:cubicBezTo>
                  <a:pt x="1524" y="21412"/>
                  <a:pt x="1338" y="21278"/>
                  <a:pt x="1135" y="21278"/>
                </a:cubicBezTo>
                <a:close/>
                <a:moveTo>
                  <a:pt x="32684" y="22162"/>
                </a:moveTo>
                <a:cubicBezTo>
                  <a:pt x="32490" y="22162"/>
                  <a:pt x="32308" y="22282"/>
                  <a:pt x="32240" y="22474"/>
                </a:cubicBezTo>
                <a:cubicBezTo>
                  <a:pt x="32152" y="22722"/>
                  <a:pt x="32280" y="22990"/>
                  <a:pt x="32524" y="23078"/>
                </a:cubicBezTo>
                <a:cubicBezTo>
                  <a:pt x="32579" y="23095"/>
                  <a:pt x="32630" y="23104"/>
                  <a:pt x="32683" y="23107"/>
                </a:cubicBezTo>
                <a:cubicBezTo>
                  <a:pt x="32878" y="23107"/>
                  <a:pt x="33060" y="22987"/>
                  <a:pt x="33128" y="22793"/>
                </a:cubicBezTo>
                <a:cubicBezTo>
                  <a:pt x="33215" y="22549"/>
                  <a:pt x="33087" y="22277"/>
                  <a:pt x="32843" y="22190"/>
                </a:cubicBezTo>
                <a:cubicBezTo>
                  <a:pt x="32790" y="22171"/>
                  <a:pt x="32737" y="22162"/>
                  <a:pt x="32684" y="22162"/>
                </a:cubicBezTo>
                <a:close/>
                <a:moveTo>
                  <a:pt x="1767" y="23059"/>
                </a:moveTo>
                <a:cubicBezTo>
                  <a:pt x="1706" y="23059"/>
                  <a:pt x="1644" y="23071"/>
                  <a:pt x="1585" y="23095"/>
                </a:cubicBezTo>
                <a:cubicBezTo>
                  <a:pt x="1345" y="23200"/>
                  <a:pt x="1234" y="23474"/>
                  <a:pt x="1334" y="23716"/>
                </a:cubicBezTo>
                <a:cubicBezTo>
                  <a:pt x="1412" y="23896"/>
                  <a:pt x="1586" y="24004"/>
                  <a:pt x="1768" y="24004"/>
                </a:cubicBezTo>
                <a:cubicBezTo>
                  <a:pt x="1829" y="24004"/>
                  <a:pt x="1894" y="23992"/>
                  <a:pt x="1953" y="23966"/>
                </a:cubicBezTo>
                <a:cubicBezTo>
                  <a:pt x="2193" y="23863"/>
                  <a:pt x="2306" y="23585"/>
                  <a:pt x="2205" y="23347"/>
                </a:cubicBezTo>
                <a:cubicBezTo>
                  <a:pt x="2127" y="23166"/>
                  <a:pt x="1951" y="23059"/>
                  <a:pt x="1767" y="23059"/>
                </a:cubicBezTo>
                <a:close/>
                <a:moveTo>
                  <a:pt x="31947" y="23906"/>
                </a:moveTo>
                <a:cubicBezTo>
                  <a:pt x="31773" y="23906"/>
                  <a:pt x="31605" y="24003"/>
                  <a:pt x="31522" y="24170"/>
                </a:cubicBezTo>
                <a:cubicBezTo>
                  <a:pt x="31407" y="24405"/>
                  <a:pt x="31504" y="24686"/>
                  <a:pt x="31736" y="24801"/>
                </a:cubicBezTo>
                <a:cubicBezTo>
                  <a:pt x="31805" y="24833"/>
                  <a:pt x="31876" y="24849"/>
                  <a:pt x="31944" y="24849"/>
                </a:cubicBezTo>
                <a:cubicBezTo>
                  <a:pt x="32119" y="24849"/>
                  <a:pt x="32286" y="24754"/>
                  <a:pt x="32369" y="24587"/>
                </a:cubicBezTo>
                <a:cubicBezTo>
                  <a:pt x="32485" y="24353"/>
                  <a:pt x="32387" y="24071"/>
                  <a:pt x="32154" y="23954"/>
                </a:cubicBezTo>
                <a:cubicBezTo>
                  <a:pt x="32087" y="23921"/>
                  <a:pt x="32017" y="23906"/>
                  <a:pt x="31947" y="23906"/>
                </a:cubicBezTo>
                <a:close/>
                <a:moveTo>
                  <a:pt x="2606" y="24757"/>
                </a:moveTo>
                <a:cubicBezTo>
                  <a:pt x="2527" y="24757"/>
                  <a:pt x="2447" y="24777"/>
                  <a:pt x="2374" y="24819"/>
                </a:cubicBezTo>
                <a:cubicBezTo>
                  <a:pt x="2148" y="24947"/>
                  <a:pt x="2069" y="25235"/>
                  <a:pt x="2198" y="25461"/>
                </a:cubicBezTo>
                <a:cubicBezTo>
                  <a:pt x="2284" y="25614"/>
                  <a:pt x="2444" y="25702"/>
                  <a:pt x="2608" y="25702"/>
                </a:cubicBezTo>
                <a:cubicBezTo>
                  <a:pt x="2685" y="25702"/>
                  <a:pt x="2765" y="25680"/>
                  <a:pt x="2841" y="25637"/>
                </a:cubicBezTo>
                <a:cubicBezTo>
                  <a:pt x="3064" y="25510"/>
                  <a:pt x="3145" y="25221"/>
                  <a:pt x="3017" y="24997"/>
                </a:cubicBezTo>
                <a:cubicBezTo>
                  <a:pt x="2930" y="24844"/>
                  <a:pt x="2770" y="24757"/>
                  <a:pt x="2606" y="24757"/>
                </a:cubicBezTo>
                <a:close/>
                <a:moveTo>
                  <a:pt x="31013" y="25555"/>
                </a:moveTo>
                <a:cubicBezTo>
                  <a:pt x="30857" y="25555"/>
                  <a:pt x="30706" y="25631"/>
                  <a:pt x="30618" y="25772"/>
                </a:cubicBezTo>
                <a:cubicBezTo>
                  <a:pt x="30475" y="25992"/>
                  <a:pt x="30536" y="26281"/>
                  <a:pt x="30756" y="26423"/>
                </a:cubicBezTo>
                <a:cubicBezTo>
                  <a:pt x="30832" y="26471"/>
                  <a:pt x="30914" y="26496"/>
                  <a:pt x="30998" y="26496"/>
                </a:cubicBezTo>
                <a:cubicBezTo>
                  <a:pt x="31003" y="26496"/>
                  <a:pt x="31008" y="26496"/>
                  <a:pt x="31012" y="26496"/>
                </a:cubicBezTo>
                <a:cubicBezTo>
                  <a:pt x="31167" y="26496"/>
                  <a:pt x="31322" y="26423"/>
                  <a:pt x="31410" y="26281"/>
                </a:cubicBezTo>
                <a:cubicBezTo>
                  <a:pt x="31551" y="26064"/>
                  <a:pt x="31489" y="25772"/>
                  <a:pt x="31269" y="25630"/>
                </a:cubicBezTo>
                <a:cubicBezTo>
                  <a:pt x="31189" y="25579"/>
                  <a:pt x="31100" y="25555"/>
                  <a:pt x="31013" y="25555"/>
                </a:cubicBezTo>
                <a:close/>
                <a:moveTo>
                  <a:pt x="3633" y="26349"/>
                </a:moveTo>
                <a:cubicBezTo>
                  <a:pt x="3537" y="26349"/>
                  <a:pt x="3439" y="26379"/>
                  <a:pt x="3354" y="26440"/>
                </a:cubicBezTo>
                <a:cubicBezTo>
                  <a:pt x="3146" y="26593"/>
                  <a:pt x="3101" y="26888"/>
                  <a:pt x="3254" y="27099"/>
                </a:cubicBezTo>
                <a:cubicBezTo>
                  <a:pt x="3347" y="27225"/>
                  <a:pt x="3489" y="27290"/>
                  <a:pt x="3632" y="27292"/>
                </a:cubicBezTo>
                <a:cubicBezTo>
                  <a:pt x="3729" y="27292"/>
                  <a:pt x="3825" y="27263"/>
                  <a:pt x="3911" y="27202"/>
                </a:cubicBezTo>
                <a:cubicBezTo>
                  <a:pt x="4121" y="27049"/>
                  <a:pt x="4168" y="26754"/>
                  <a:pt x="4015" y="26545"/>
                </a:cubicBezTo>
                <a:cubicBezTo>
                  <a:pt x="3922" y="26417"/>
                  <a:pt x="3779" y="26349"/>
                  <a:pt x="3633" y="26349"/>
                </a:cubicBezTo>
                <a:close/>
                <a:moveTo>
                  <a:pt x="29899" y="27086"/>
                </a:moveTo>
                <a:cubicBezTo>
                  <a:pt x="29762" y="27086"/>
                  <a:pt x="29626" y="27145"/>
                  <a:pt x="29533" y="27260"/>
                </a:cubicBezTo>
                <a:cubicBezTo>
                  <a:pt x="29367" y="27463"/>
                  <a:pt x="29397" y="27760"/>
                  <a:pt x="29599" y="27926"/>
                </a:cubicBezTo>
                <a:cubicBezTo>
                  <a:pt x="29684" y="27993"/>
                  <a:pt x="29785" y="28029"/>
                  <a:pt x="29886" y="28029"/>
                </a:cubicBezTo>
                <a:cubicBezTo>
                  <a:pt x="29890" y="28029"/>
                  <a:pt x="29894" y="28029"/>
                  <a:pt x="29898" y="28029"/>
                </a:cubicBezTo>
                <a:cubicBezTo>
                  <a:pt x="30035" y="28029"/>
                  <a:pt x="30170" y="27970"/>
                  <a:pt x="30264" y="27856"/>
                </a:cubicBezTo>
                <a:cubicBezTo>
                  <a:pt x="30430" y="27656"/>
                  <a:pt x="30399" y="27358"/>
                  <a:pt x="30199" y="27193"/>
                </a:cubicBezTo>
                <a:cubicBezTo>
                  <a:pt x="30111" y="27121"/>
                  <a:pt x="30004" y="27086"/>
                  <a:pt x="29899" y="27086"/>
                </a:cubicBezTo>
                <a:close/>
                <a:moveTo>
                  <a:pt x="4834" y="27814"/>
                </a:moveTo>
                <a:cubicBezTo>
                  <a:pt x="4720" y="27814"/>
                  <a:pt x="4606" y="27854"/>
                  <a:pt x="4515" y="27937"/>
                </a:cubicBezTo>
                <a:cubicBezTo>
                  <a:pt x="4324" y="28113"/>
                  <a:pt x="4311" y="28413"/>
                  <a:pt x="4488" y="28604"/>
                </a:cubicBezTo>
                <a:cubicBezTo>
                  <a:pt x="4582" y="28705"/>
                  <a:pt x="4708" y="28758"/>
                  <a:pt x="4833" y="28758"/>
                </a:cubicBezTo>
                <a:cubicBezTo>
                  <a:pt x="4948" y="28758"/>
                  <a:pt x="5062" y="28715"/>
                  <a:pt x="5153" y="28633"/>
                </a:cubicBezTo>
                <a:cubicBezTo>
                  <a:pt x="5346" y="28454"/>
                  <a:pt x="5356" y="28158"/>
                  <a:pt x="5180" y="27967"/>
                </a:cubicBezTo>
                <a:cubicBezTo>
                  <a:pt x="5088" y="27865"/>
                  <a:pt x="4961" y="27814"/>
                  <a:pt x="4834" y="27814"/>
                </a:cubicBezTo>
                <a:close/>
                <a:moveTo>
                  <a:pt x="28617" y="28483"/>
                </a:moveTo>
                <a:cubicBezTo>
                  <a:pt x="28499" y="28483"/>
                  <a:pt x="28380" y="28527"/>
                  <a:pt x="28288" y="28616"/>
                </a:cubicBezTo>
                <a:cubicBezTo>
                  <a:pt x="28101" y="28799"/>
                  <a:pt x="28097" y="29098"/>
                  <a:pt x="28279" y="29284"/>
                </a:cubicBezTo>
                <a:cubicBezTo>
                  <a:pt x="28373" y="29377"/>
                  <a:pt x="28494" y="29425"/>
                  <a:pt x="28617" y="29428"/>
                </a:cubicBezTo>
                <a:cubicBezTo>
                  <a:pt x="28736" y="29428"/>
                  <a:pt x="28854" y="29383"/>
                  <a:pt x="28947" y="29293"/>
                </a:cubicBezTo>
                <a:cubicBezTo>
                  <a:pt x="29132" y="29111"/>
                  <a:pt x="29138" y="28811"/>
                  <a:pt x="28956" y="28626"/>
                </a:cubicBezTo>
                <a:cubicBezTo>
                  <a:pt x="28863" y="28531"/>
                  <a:pt x="28740" y="28483"/>
                  <a:pt x="28617" y="28483"/>
                </a:cubicBezTo>
                <a:close/>
                <a:moveTo>
                  <a:pt x="6193" y="29134"/>
                </a:moveTo>
                <a:cubicBezTo>
                  <a:pt x="6061" y="29134"/>
                  <a:pt x="5931" y="29188"/>
                  <a:pt x="5839" y="29295"/>
                </a:cubicBezTo>
                <a:cubicBezTo>
                  <a:pt x="5666" y="29494"/>
                  <a:pt x="5689" y="29790"/>
                  <a:pt x="5886" y="29963"/>
                </a:cubicBezTo>
                <a:cubicBezTo>
                  <a:pt x="5976" y="30037"/>
                  <a:pt x="6083" y="30075"/>
                  <a:pt x="6193" y="30075"/>
                </a:cubicBezTo>
                <a:cubicBezTo>
                  <a:pt x="6326" y="30075"/>
                  <a:pt x="6455" y="30020"/>
                  <a:pt x="6549" y="29911"/>
                </a:cubicBezTo>
                <a:cubicBezTo>
                  <a:pt x="6719" y="29717"/>
                  <a:pt x="6698" y="29416"/>
                  <a:pt x="6502" y="29248"/>
                </a:cubicBezTo>
                <a:cubicBezTo>
                  <a:pt x="6413" y="29171"/>
                  <a:pt x="6302" y="29134"/>
                  <a:pt x="6193" y="29134"/>
                </a:cubicBezTo>
                <a:close/>
                <a:moveTo>
                  <a:pt x="27189" y="29724"/>
                </a:moveTo>
                <a:cubicBezTo>
                  <a:pt x="27087" y="29724"/>
                  <a:pt x="26985" y="29756"/>
                  <a:pt x="26899" y="29823"/>
                </a:cubicBezTo>
                <a:cubicBezTo>
                  <a:pt x="26690" y="29979"/>
                  <a:pt x="26652" y="30278"/>
                  <a:pt x="26814" y="30483"/>
                </a:cubicBezTo>
                <a:cubicBezTo>
                  <a:pt x="26907" y="30605"/>
                  <a:pt x="27045" y="30667"/>
                  <a:pt x="27186" y="30667"/>
                </a:cubicBezTo>
                <a:cubicBezTo>
                  <a:pt x="27288" y="30667"/>
                  <a:pt x="27388" y="30637"/>
                  <a:pt x="27474" y="30568"/>
                </a:cubicBezTo>
                <a:cubicBezTo>
                  <a:pt x="27682" y="30410"/>
                  <a:pt x="27719" y="30113"/>
                  <a:pt x="27559" y="29908"/>
                </a:cubicBezTo>
                <a:cubicBezTo>
                  <a:pt x="27468" y="29786"/>
                  <a:pt x="27329" y="29724"/>
                  <a:pt x="27189" y="29724"/>
                </a:cubicBezTo>
                <a:close/>
                <a:moveTo>
                  <a:pt x="7695" y="30291"/>
                </a:moveTo>
                <a:cubicBezTo>
                  <a:pt x="7544" y="30291"/>
                  <a:pt x="7396" y="30362"/>
                  <a:pt x="7305" y="30495"/>
                </a:cubicBezTo>
                <a:cubicBezTo>
                  <a:pt x="7159" y="30711"/>
                  <a:pt x="7214" y="31004"/>
                  <a:pt x="7428" y="31151"/>
                </a:cubicBezTo>
                <a:cubicBezTo>
                  <a:pt x="7510" y="31207"/>
                  <a:pt x="7603" y="31232"/>
                  <a:pt x="7695" y="31235"/>
                </a:cubicBezTo>
                <a:cubicBezTo>
                  <a:pt x="7845" y="31235"/>
                  <a:pt x="7994" y="31162"/>
                  <a:pt x="8085" y="31030"/>
                </a:cubicBezTo>
                <a:cubicBezTo>
                  <a:pt x="8231" y="30813"/>
                  <a:pt x="8176" y="30518"/>
                  <a:pt x="7961" y="30373"/>
                </a:cubicBezTo>
                <a:cubicBezTo>
                  <a:pt x="7879" y="30317"/>
                  <a:pt x="7786" y="30291"/>
                  <a:pt x="7695" y="30291"/>
                </a:cubicBezTo>
                <a:close/>
                <a:moveTo>
                  <a:pt x="25627" y="30794"/>
                </a:moveTo>
                <a:cubicBezTo>
                  <a:pt x="25543" y="30794"/>
                  <a:pt x="25458" y="30816"/>
                  <a:pt x="25381" y="30863"/>
                </a:cubicBezTo>
                <a:cubicBezTo>
                  <a:pt x="25160" y="30996"/>
                  <a:pt x="25086" y="31288"/>
                  <a:pt x="25221" y="31511"/>
                </a:cubicBezTo>
                <a:cubicBezTo>
                  <a:pt x="25309" y="31657"/>
                  <a:pt x="25465" y="31737"/>
                  <a:pt x="25626" y="31737"/>
                </a:cubicBezTo>
                <a:cubicBezTo>
                  <a:pt x="25709" y="31737"/>
                  <a:pt x="25793" y="31716"/>
                  <a:pt x="25869" y="31669"/>
                </a:cubicBezTo>
                <a:cubicBezTo>
                  <a:pt x="26090" y="31534"/>
                  <a:pt x="26165" y="31244"/>
                  <a:pt x="26030" y="31019"/>
                </a:cubicBezTo>
                <a:cubicBezTo>
                  <a:pt x="25942" y="30875"/>
                  <a:pt x="25786" y="30794"/>
                  <a:pt x="25627" y="30794"/>
                </a:cubicBezTo>
                <a:close/>
                <a:moveTo>
                  <a:pt x="9319" y="31267"/>
                </a:moveTo>
                <a:cubicBezTo>
                  <a:pt x="9150" y="31267"/>
                  <a:pt x="8986" y="31360"/>
                  <a:pt x="8900" y="31520"/>
                </a:cubicBezTo>
                <a:cubicBezTo>
                  <a:pt x="8779" y="31751"/>
                  <a:pt x="8867" y="32034"/>
                  <a:pt x="9098" y="32157"/>
                </a:cubicBezTo>
                <a:cubicBezTo>
                  <a:pt x="9166" y="32195"/>
                  <a:pt x="9242" y="32211"/>
                  <a:pt x="9318" y="32214"/>
                </a:cubicBezTo>
                <a:cubicBezTo>
                  <a:pt x="9485" y="32214"/>
                  <a:pt x="9650" y="32119"/>
                  <a:pt x="9735" y="31960"/>
                </a:cubicBezTo>
                <a:cubicBezTo>
                  <a:pt x="9856" y="31731"/>
                  <a:pt x="9770" y="31447"/>
                  <a:pt x="9538" y="31323"/>
                </a:cubicBezTo>
                <a:cubicBezTo>
                  <a:pt x="9468" y="31285"/>
                  <a:pt x="9393" y="31267"/>
                  <a:pt x="9319" y="31267"/>
                </a:cubicBezTo>
                <a:close/>
                <a:moveTo>
                  <a:pt x="23952" y="31680"/>
                </a:moveTo>
                <a:cubicBezTo>
                  <a:pt x="23886" y="31680"/>
                  <a:pt x="23819" y="31694"/>
                  <a:pt x="23756" y="31723"/>
                </a:cubicBezTo>
                <a:cubicBezTo>
                  <a:pt x="23518" y="31831"/>
                  <a:pt x="23414" y="32110"/>
                  <a:pt x="23522" y="32347"/>
                </a:cubicBezTo>
                <a:cubicBezTo>
                  <a:pt x="23601" y="32520"/>
                  <a:pt x="23773" y="32625"/>
                  <a:pt x="23950" y="32625"/>
                </a:cubicBezTo>
                <a:cubicBezTo>
                  <a:pt x="24017" y="32625"/>
                  <a:pt x="24082" y="32611"/>
                  <a:pt x="24146" y="32582"/>
                </a:cubicBezTo>
                <a:cubicBezTo>
                  <a:pt x="24381" y="32472"/>
                  <a:pt x="24488" y="32192"/>
                  <a:pt x="24380" y="31956"/>
                </a:cubicBezTo>
                <a:cubicBezTo>
                  <a:pt x="24301" y="31782"/>
                  <a:pt x="24130" y="31680"/>
                  <a:pt x="23952" y="31680"/>
                </a:cubicBezTo>
                <a:close/>
                <a:moveTo>
                  <a:pt x="11040" y="32055"/>
                </a:moveTo>
                <a:cubicBezTo>
                  <a:pt x="10850" y="32055"/>
                  <a:pt x="10672" y="32168"/>
                  <a:pt x="10599" y="32355"/>
                </a:cubicBezTo>
                <a:cubicBezTo>
                  <a:pt x="10508" y="32598"/>
                  <a:pt x="10627" y="32871"/>
                  <a:pt x="10867" y="32966"/>
                </a:cubicBezTo>
                <a:cubicBezTo>
                  <a:pt x="10925" y="32988"/>
                  <a:pt x="10984" y="32998"/>
                  <a:pt x="11040" y="32998"/>
                </a:cubicBezTo>
                <a:cubicBezTo>
                  <a:pt x="11228" y="32998"/>
                  <a:pt x="11409" y="32883"/>
                  <a:pt x="11479" y="32696"/>
                </a:cubicBezTo>
                <a:cubicBezTo>
                  <a:pt x="11571" y="32453"/>
                  <a:pt x="11452" y="32180"/>
                  <a:pt x="11209" y="32086"/>
                </a:cubicBezTo>
                <a:lnTo>
                  <a:pt x="11212" y="32086"/>
                </a:lnTo>
                <a:cubicBezTo>
                  <a:pt x="11155" y="32065"/>
                  <a:pt x="11097" y="32055"/>
                  <a:pt x="11040" y="32055"/>
                </a:cubicBezTo>
                <a:close/>
                <a:moveTo>
                  <a:pt x="22183" y="32369"/>
                </a:moveTo>
                <a:cubicBezTo>
                  <a:pt x="22136" y="32369"/>
                  <a:pt x="22087" y="32376"/>
                  <a:pt x="22039" y="32391"/>
                </a:cubicBezTo>
                <a:lnTo>
                  <a:pt x="22038" y="32391"/>
                </a:lnTo>
                <a:cubicBezTo>
                  <a:pt x="21794" y="32472"/>
                  <a:pt x="21657" y="32739"/>
                  <a:pt x="21736" y="32985"/>
                </a:cubicBezTo>
                <a:cubicBezTo>
                  <a:pt x="21803" y="33185"/>
                  <a:pt x="21988" y="33309"/>
                  <a:pt x="22185" y="33309"/>
                </a:cubicBezTo>
                <a:cubicBezTo>
                  <a:pt x="22234" y="33309"/>
                  <a:pt x="22284" y="33302"/>
                  <a:pt x="22331" y="33288"/>
                </a:cubicBezTo>
                <a:cubicBezTo>
                  <a:pt x="22577" y="33209"/>
                  <a:pt x="22713" y="32942"/>
                  <a:pt x="22634" y="32695"/>
                </a:cubicBezTo>
                <a:cubicBezTo>
                  <a:pt x="22568" y="32496"/>
                  <a:pt x="22383" y="32369"/>
                  <a:pt x="22183" y="32369"/>
                </a:cubicBezTo>
                <a:close/>
                <a:moveTo>
                  <a:pt x="12840" y="32639"/>
                </a:moveTo>
                <a:cubicBezTo>
                  <a:pt x="12631" y="32639"/>
                  <a:pt x="12441" y="32780"/>
                  <a:pt x="12385" y="32992"/>
                </a:cubicBezTo>
                <a:cubicBezTo>
                  <a:pt x="12320" y="33246"/>
                  <a:pt x="12472" y="33501"/>
                  <a:pt x="12723" y="33567"/>
                </a:cubicBezTo>
                <a:cubicBezTo>
                  <a:pt x="12760" y="33576"/>
                  <a:pt x="12796" y="33583"/>
                  <a:pt x="12833" y="33583"/>
                </a:cubicBezTo>
                <a:cubicBezTo>
                  <a:pt x="12836" y="33583"/>
                  <a:pt x="12840" y="33583"/>
                  <a:pt x="12843" y="33583"/>
                </a:cubicBezTo>
                <a:cubicBezTo>
                  <a:pt x="13050" y="33583"/>
                  <a:pt x="13241" y="33443"/>
                  <a:pt x="13299" y="33230"/>
                </a:cubicBezTo>
                <a:cubicBezTo>
                  <a:pt x="13364" y="32977"/>
                  <a:pt x="13212" y="32722"/>
                  <a:pt x="12960" y="32655"/>
                </a:cubicBezTo>
                <a:cubicBezTo>
                  <a:pt x="12920" y="32645"/>
                  <a:pt x="12880" y="32639"/>
                  <a:pt x="12840" y="32639"/>
                </a:cubicBezTo>
                <a:close/>
                <a:moveTo>
                  <a:pt x="20354" y="32851"/>
                </a:moveTo>
                <a:cubicBezTo>
                  <a:pt x="20323" y="32851"/>
                  <a:pt x="20292" y="32854"/>
                  <a:pt x="20261" y="32860"/>
                </a:cubicBezTo>
                <a:cubicBezTo>
                  <a:pt x="20007" y="32909"/>
                  <a:pt x="19842" y="33159"/>
                  <a:pt x="19890" y="33414"/>
                </a:cubicBezTo>
                <a:cubicBezTo>
                  <a:pt x="19939" y="33637"/>
                  <a:pt x="20133" y="33794"/>
                  <a:pt x="20352" y="33794"/>
                </a:cubicBezTo>
                <a:cubicBezTo>
                  <a:pt x="20387" y="33794"/>
                  <a:pt x="20417" y="33789"/>
                  <a:pt x="20447" y="33784"/>
                </a:cubicBezTo>
                <a:cubicBezTo>
                  <a:pt x="20701" y="33733"/>
                  <a:pt x="20866" y="33482"/>
                  <a:pt x="20816" y="33227"/>
                </a:cubicBezTo>
                <a:cubicBezTo>
                  <a:pt x="20772" y="33005"/>
                  <a:pt x="20574" y="32851"/>
                  <a:pt x="20354" y="32851"/>
                </a:cubicBezTo>
                <a:close/>
                <a:moveTo>
                  <a:pt x="14697" y="33011"/>
                </a:moveTo>
                <a:cubicBezTo>
                  <a:pt x="14467" y="33011"/>
                  <a:pt x="14268" y="33181"/>
                  <a:pt x="14234" y="33417"/>
                </a:cubicBezTo>
                <a:cubicBezTo>
                  <a:pt x="14196" y="33675"/>
                  <a:pt x="14373" y="33913"/>
                  <a:pt x="14634" y="33951"/>
                </a:cubicBezTo>
                <a:cubicBezTo>
                  <a:pt x="14654" y="33954"/>
                  <a:pt x="14677" y="33956"/>
                  <a:pt x="14700" y="33956"/>
                </a:cubicBezTo>
                <a:cubicBezTo>
                  <a:pt x="14932" y="33956"/>
                  <a:pt x="15134" y="33786"/>
                  <a:pt x="15167" y="33551"/>
                </a:cubicBezTo>
                <a:cubicBezTo>
                  <a:pt x="15203" y="33290"/>
                  <a:pt x="15023" y="33053"/>
                  <a:pt x="14766" y="33016"/>
                </a:cubicBezTo>
                <a:cubicBezTo>
                  <a:pt x="14743" y="33013"/>
                  <a:pt x="14720" y="33011"/>
                  <a:pt x="14697" y="33011"/>
                </a:cubicBezTo>
                <a:close/>
                <a:moveTo>
                  <a:pt x="18483" y="33118"/>
                </a:moveTo>
                <a:cubicBezTo>
                  <a:pt x="18469" y="33118"/>
                  <a:pt x="18454" y="33118"/>
                  <a:pt x="18439" y="33120"/>
                </a:cubicBezTo>
                <a:cubicBezTo>
                  <a:pt x="18180" y="33142"/>
                  <a:pt x="17990" y="33369"/>
                  <a:pt x="18011" y="33628"/>
                </a:cubicBezTo>
                <a:cubicBezTo>
                  <a:pt x="18031" y="33872"/>
                  <a:pt x="18236" y="34059"/>
                  <a:pt x="18482" y="34061"/>
                </a:cubicBezTo>
                <a:cubicBezTo>
                  <a:pt x="18494" y="34061"/>
                  <a:pt x="18509" y="34061"/>
                  <a:pt x="18521" y="34059"/>
                </a:cubicBezTo>
                <a:lnTo>
                  <a:pt x="18521" y="34061"/>
                </a:lnTo>
                <a:cubicBezTo>
                  <a:pt x="18779" y="34036"/>
                  <a:pt x="18972" y="33809"/>
                  <a:pt x="18952" y="33549"/>
                </a:cubicBezTo>
                <a:cubicBezTo>
                  <a:pt x="18928" y="33303"/>
                  <a:pt x="18724" y="33118"/>
                  <a:pt x="18483" y="33118"/>
                </a:cubicBezTo>
                <a:close/>
                <a:moveTo>
                  <a:pt x="16587" y="33171"/>
                </a:moveTo>
                <a:cubicBezTo>
                  <a:pt x="16334" y="33171"/>
                  <a:pt x="16125" y="33373"/>
                  <a:pt x="16117" y="33630"/>
                </a:cubicBezTo>
                <a:cubicBezTo>
                  <a:pt x="16108" y="33891"/>
                  <a:pt x="16313" y="34106"/>
                  <a:pt x="16574" y="34114"/>
                </a:cubicBezTo>
                <a:lnTo>
                  <a:pt x="16586" y="34114"/>
                </a:lnTo>
                <a:cubicBezTo>
                  <a:pt x="16841" y="34114"/>
                  <a:pt x="17051" y="33910"/>
                  <a:pt x="17058" y="33657"/>
                </a:cubicBezTo>
                <a:cubicBezTo>
                  <a:pt x="17066" y="33394"/>
                  <a:pt x="16861" y="33179"/>
                  <a:pt x="16601" y="33171"/>
                </a:cubicBezTo>
                <a:cubicBezTo>
                  <a:pt x="16597" y="33171"/>
                  <a:pt x="16592" y="33171"/>
                  <a:pt x="16587" y="3317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39">
            <a:hlinkClick r:id="rId4" action="ppaction://hlinksldjump"/>
          </p:cNvPr>
          <p:cNvSpPr txBox="1">
            <a:spLocks noGrp="1"/>
          </p:cNvSpPr>
          <p:nvPr>
            <p:ph type="subTitle" idx="2"/>
          </p:nvPr>
        </p:nvSpPr>
        <p:spPr>
          <a:xfrm>
            <a:off x="882350"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Introduction</a:t>
            </a:r>
            <a:endParaRPr/>
          </a:p>
        </p:txBody>
      </p:sp>
      <p:sp>
        <p:nvSpPr>
          <p:cNvPr id="1266" name="Google Shape;1266;p39">
            <a:hlinkClick r:id="rId5" action="ppaction://hlinksldjump"/>
          </p:cNvPr>
          <p:cNvSpPr txBox="1">
            <a:spLocks noGrp="1"/>
          </p:cNvSpPr>
          <p:nvPr>
            <p:ph type="subTitle" idx="3"/>
          </p:nvPr>
        </p:nvSpPr>
        <p:spPr>
          <a:xfrm>
            <a:off x="5201275"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ethodology</a:t>
            </a:r>
            <a:endParaRPr/>
          </a:p>
        </p:txBody>
      </p:sp>
      <p:sp>
        <p:nvSpPr>
          <p:cNvPr id="1267" name="Google Shape;1267;p39">
            <a:hlinkClick r:id="" action="ppaction://noaction"/>
          </p:cNvPr>
          <p:cNvSpPr txBox="1">
            <a:spLocks noGrp="1"/>
          </p:cNvSpPr>
          <p:nvPr>
            <p:ph type="subTitle" idx="4"/>
          </p:nvPr>
        </p:nvSpPr>
        <p:spPr>
          <a:xfrm>
            <a:off x="2046700"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The Question</a:t>
            </a:r>
            <a:endParaRPr/>
          </a:p>
        </p:txBody>
      </p:sp>
      <p:sp>
        <p:nvSpPr>
          <p:cNvPr id="1268" name="Google Shape;1268;p39">
            <a:hlinkClick r:id="" action="ppaction://noaction"/>
          </p:cNvPr>
          <p:cNvSpPr txBox="1">
            <a:spLocks noGrp="1"/>
          </p:cNvSpPr>
          <p:nvPr>
            <p:ph type="subTitle" idx="5"/>
          </p:nvPr>
        </p:nvSpPr>
        <p:spPr>
          <a:xfrm>
            <a:off x="3153400"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Why</a:t>
            </a:r>
            <a:endParaRPr/>
          </a:p>
        </p:txBody>
      </p:sp>
      <p:sp>
        <p:nvSpPr>
          <p:cNvPr id="1269" name="Google Shape;1269;p39">
            <a:hlinkClick r:id="" action="ppaction://noaction"/>
          </p:cNvPr>
          <p:cNvSpPr txBox="1">
            <a:spLocks noGrp="1"/>
          </p:cNvSpPr>
          <p:nvPr>
            <p:ph type="subTitle" idx="6"/>
          </p:nvPr>
        </p:nvSpPr>
        <p:spPr>
          <a:xfrm>
            <a:off x="4094575"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Data Source</a:t>
            </a:r>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273"/>
        <p:cNvGrpSpPr/>
        <p:nvPr/>
      </p:nvGrpSpPr>
      <p:grpSpPr>
        <a:xfrm>
          <a:off x="0" y="0"/>
          <a:ext cx="0" cy="0"/>
          <a:chOff x="0" y="0"/>
          <a:chExt cx="0" cy="0"/>
        </a:xfrm>
      </p:grpSpPr>
      <p:sp>
        <p:nvSpPr>
          <p:cNvPr id="1274" name="Google Shape;1274;p40"/>
          <p:cNvSpPr/>
          <p:nvPr/>
        </p:nvSpPr>
        <p:spPr>
          <a:xfrm>
            <a:off x="6871150" y="4125300"/>
            <a:ext cx="893400" cy="61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40"/>
          <p:cNvSpPr/>
          <p:nvPr/>
        </p:nvSpPr>
        <p:spPr>
          <a:xfrm>
            <a:off x="1550275" y="4125300"/>
            <a:ext cx="1011600" cy="5256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40"/>
          <p:cNvSpPr txBox="1">
            <a:spLocks noGrp="1"/>
          </p:cNvSpPr>
          <p:nvPr>
            <p:ph type="subTitle" idx="1"/>
          </p:nvPr>
        </p:nvSpPr>
        <p:spPr>
          <a:xfrm>
            <a:off x="969400" y="2491198"/>
            <a:ext cx="6896700" cy="3473400"/>
          </a:xfrm>
          <a:prstGeom prst="rect">
            <a:avLst/>
          </a:prstGeom>
        </p:spPr>
        <p:txBody>
          <a:bodyPr spcFirstLastPara="1" wrap="square" lIns="91425" tIns="91425" rIns="91425" bIns="91425" anchor="t" anchorCtr="0">
            <a:noAutofit/>
          </a:bodyPr>
          <a:lstStyle/>
          <a:p>
            <a:pPr marL="457200" lvl="0" indent="-330200" algn="l" rtl="0">
              <a:lnSpc>
                <a:spcPct val="115000"/>
              </a:lnSpc>
              <a:spcBef>
                <a:spcPts val="0"/>
              </a:spcBef>
              <a:spcAft>
                <a:spcPts val="0"/>
              </a:spcAft>
              <a:buSzPts val="1600"/>
              <a:buFont typeface="Arial"/>
              <a:buAutoNum type="arabicPeriod"/>
            </a:pPr>
            <a:r>
              <a:rPr lang="en" sz="1600">
                <a:latin typeface="Arial"/>
                <a:ea typeface="Arial"/>
                <a:cs typeface="Arial"/>
                <a:sym typeface="Arial"/>
              </a:rPr>
              <a:t>Refine the data for the </a:t>
            </a:r>
            <a:r>
              <a:rPr lang="en" sz="1600" b="1">
                <a:solidFill>
                  <a:schemeClr val="accent2"/>
                </a:solidFill>
                <a:latin typeface="Arial"/>
                <a:ea typeface="Arial"/>
                <a:cs typeface="Arial"/>
                <a:sym typeface="Arial"/>
              </a:rPr>
              <a:t>most recent survey year (2018)</a:t>
            </a:r>
            <a:r>
              <a:rPr lang="en" sz="1600">
                <a:solidFill>
                  <a:schemeClr val="accent2"/>
                </a:solidFill>
                <a:latin typeface="Arial"/>
                <a:ea typeface="Arial"/>
                <a:cs typeface="Arial"/>
                <a:sym typeface="Arial"/>
              </a:rPr>
              <a:t> </a:t>
            </a:r>
            <a:br>
              <a:rPr lang="en" sz="1600">
                <a:latin typeface="Arial"/>
                <a:ea typeface="Arial"/>
                <a:cs typeface="Arial"/>
                <a:sym typeface="Arial"/>
              </a:rPr>
            </a:br>
            <a:endParaRPr sz="1600">
              <a:latin typeface="Arial"/>
              <a:ea typeface="Arial"/>
              <a:cs typeface="Arial"/>
              <a:sym typeface="Arial"/>
            </a:endParaRPr>
          </a:p>
          <a:p>
            <a:pPr marL="457200" lvl="0" indent="-330200" algn="l" rtl="0">
              <a:lnSpc>
                <a:spcPct val="115000"/>
              </a:lnSpc>
              <a:spcBef>
                <a:spcPts val="0"/>
              </a:spcBef>
              <a:spcAft>
                <a:spcPts val="0"/>
              </a:spcAft>
              <a:buSzPts val="1600"/>
              <a:buFont typeface="Arial"/>
              <a:buAutoNum type="arabicPeriod"/>
            </a:pPr>
            <a:r>
              <a:rPr lang="en" sz="1600">
                <a:latin typeface="Arial"/>
                <a:ea typeface="Arial"/>
                <a:cs typeface="Arial"/>
                <a:sym typeface="Arial"/>
              </a:rPr>
              <a:t>Use </a:t>
            </a:r>
            <a:r>
              <a:rPr lang="en" sz="1600" b="1">
                <a:solidFill>
                  <a:schemeClr val="accent5"/>
                </a:solidFill>
                <a:latin typeface="Arial"/>
                <a:ea typeface="Arial"/>
                <a:cs typeface="Arial"/>
                <a:sym typeface="Arial"/>
              </a:rPr>
              <a:t>R</a:t>
            </a:r>
            <a:r>
              <a:rPr lang="en" sz="1600">
                <a:latin typeface="Arial"/>
                <a:ea typeface="Arial"/>
                <a:cs typeface="Arial"/>
                <a:sym typeface="Arial"/>
              </a:rPr>
              <a:t> and translate the data in </a:t>
            </a:r>
            <a:r>
              <a:rPr lang="en" sz="1600" b="1">
                <a:solidFill>
                  <a:schemeClr val="accent5"/>
                </a:solidFill>
                <a:latin typeface="Arial"/>
                <a:ea typeface="Arial"/>
                <a:cs typeface="Arial"/>
                <a:sym typeface="Arial"/>
              </a:rPr>
              <a:t>Python</a:t>
            </a:r>
            <a:r>
              <a:rPr lang="en" sz="1600">
                <a:latin typeface="Arial"/>
                <a:ea typeface="Arial"/>
                <a:cs typeface="Arial"/>
                <a:sym typeface="Arial"/>
              </a:rPr>
              <a:t> for the purpose of using </a:t>
            </a:r>
            <a:r>
              <a:rPr lang="en" sz="1600" b="1">
                <a:solidFill>
                  <a:schemeClr val="accent5"/>
                </a:solidFill>
                <a:latin typeface="Arial"/>
                <a:ea typeface="Arial"/>
                <a:cs typeface="Arial"/>
                <a:sym typeface="Arial"/>
              </a:rPr>
              <a:t>Jupyter</a:t>
            </a:r>
            <a:br>
              <a:rPr lang="en" sz="1600" b="1">
                <a:latin typeface="Arial"/>
                <a:ea typeface="Arial"/>
                <a:cs typeface="Arial"/>
                <a:sym typeface="Arial"/>
              </a:rPr>
            </a:br>
            <a:endParaRPr sz="1600" b="1">
              <a:latin typeface="Arial"/>
              <a:ea typeface="Arial"/>
              <a:cs typeface="Arial"/>
              <a:sym typeface="Arial"/>
            </a:endParaRPr>
          </a:p>
          <a:p>
            <a:pPr marL="457200" lvl="0" indent="-330200" algn="l" rtl="0">
              <a:lnSpc>
                <a:spcPct val="115000"/>
              </a:lnSpc>
              <a:spcBef>
                <a:spcPts val="0"/>
              </a:spcBef>
              <a:spcAft>
                <a:spcPts val="0"/>
              </a:spcAft>
              <a:buSzPts val="1600"/>
              <a:buFont typeface="Arial"/>
              <a:buAutoNum type="arabicPeriod"/>
            </a:pPr>
            <a:r>
              <a:rPr lang="en" sz="1600">
                <a:latin typeface="Arial"/>
                <a:ea typeface="Arial"/>
                <a:cs typeface="Arial"/>
                <a:sym typeface="Arial"/>
              </a:rPr>
              <a:t>Use machine learning to develop a </a:t>
            </a:r>
            <a:r>
              <a:rPr lang="en" sz="1600" b="1">
                <a:solidFill>
                  <a:schemeClr val="accent3"/>
                </a:solidFill>
                <a:latin typeface="Arial"/>
                <a:ea typeface="Arial"/>
                <a:cs typeface="Arial"/>
                <a:sym typeface="Arial"/>
              </a:rPr>
              <a:t>predictive model</a:t>
            </a:r>
            <a:r>
              <a:rPr lang="en" sz="1600">
                <a:solidFill>
                  <a:schemeClr val="accent3"/>
                </a:solidFill>
                <a:latin typeface="Arial"/>
                <a:ea typeface="Arial"/>
                <a:cs typeface="Arial"/>
                <a:sym typeface="Arial"/>
              </a:rPr>
              <a:t> </a:t>
            </a:r>
            <a:r>
              <a:rPr lang="en" sz="1600">
                <a:latin typeface="Arial"/>
                <a:ea typeface="Arial"/>
                <a:cs typeface="Arial"/>
                <a:sym typeface="Arial"/>
              </a:rPr>
              <a:t>for presidential choice</a:t>
            </a:r>
            <a:br>
              <a:rPr lang="en" sz="1600">
                <a:latin typeface="Arial"/>
                <a:ea typeface="Arial"/>
                <a:cs typeface="Arial"/>
                <a:sym typeface="Arial"/>
              </a:rPr>
            </a:br>
            <a:endParaRPr sz="1600">
              <a:latin typeface="Arial"/>
              <a:ea typeface="Arial"/>
              <a:cs typeface="Arial"/>
              <a:sym typeface="Arial"/>
            </a:endParaRPr>
          </a:p>
          <a:p>
            <a:pPr marL="457200" lvl="0" indent="-330200" algn="l" rtl="0">
              <a:lnSpc>
                <a:spcPct val="115000"/>
              </a:lnSpc>
              <a:spcBef>
                <a:spcPts val="0"/>
              </a:spcBef>
              <a:spcAft>
                <a:spcPts val="0"/>
              </a:spcAft>
              <a:buSzPts val="1600"/>
              <a:buFont typeface="Arial"/>
              <a:buAutoNum type="arabicPeriod"/>
            </a:pPr>
            <a:r>
              <a:rPr lang="en" sz="1600">
                <a:latin typeface="Arial"/>
                <a:ea typeface="Arial"/>
                <a:cs typeface="Arial"/>
                <a:sym typeface="Arial"/>
              </a:rPr>
              <a:t>Divide 80% of the data into a </a:t>
            </a:r>
            <a:r>
              <a:rPr lang="en" sz="1600" b="1">
                <a:solidFill>
                  <a:schemeClr val="dk2"/>
                </a:solidFill>
                <a:latin typeface="Arial"/>
                <a:ea typeface="Arial"/>
                <a:cs typeface="Arial"/>
                <a:sym typeface="Arial"/>
              </a:rPr>
              <a:t>“training" section</a:t>
            </a:r>
            <a:br>
              <a:rPr lang="en" sz="1600">
                <a:latin typeface="Arial"/>
                <a:ea typeface="Arial"/>
                <a:cs typeface="Arial"/>
                <a:sym typeface="Arial"/>
              </a:rPr>
            </a:br>
            <a:endParaRPr sz="1600">
              <a:latin typeface="Arial"/>
              <a:ea typeface="Arial"/>
              <a:cs typeface="Arial"/>
              <a:sym typeface="Arial"/>
            </a:endParaRPr>
          </a:p>
          <a:p>
            <a:pPr marL="457200" lvl="0" indent="-330200" algn="l" rtl="0">
              <a:lnSpc>
                <a:spcPct val="115000"/>
              </a:lnSpc>
              <a:spcBef>
                <a:spcPts val="0"/>
              </a:spcBef>
              <a:spcAft>
                <a:spcPts val="0"/>
              </a:spcAft>
              <a:buSzPts val="1600"/>
              <a:buFont typeface="Arial"/>
              <a:buAutoNum type="arabicPeriod"/>
            </a:pPr>
            <a:r>
              <a:rPr lang="en" sz="1600">
                <a:latin typeface="Arial"/>
                <a:ea typeface="Arial"/>
                <a:cs typeface="Arial"/>
                <a:sym typeface="Arial"/>
              </a:rPr>
              <a:t>Use the remaining 20% for the </a:t>
            </a:r>
            <a:r>
              <a:rPr lang="en" sz="1600" b="1">
                <a:solidFill>
                  <a:schemeClr val="dk2"/>
                </a:solidFill>
                <a:latin typeface="Arial"/>
                <a:ea typeface="Arial"/>
                <a:cs typeface="Arial"/>
                <a:sym typeface="Arial"/>
              </a:rPr>
              <a:t>“test” section of data</a:t>
            </a:r>
            <a:endParaRPr sz="1600" b="1">
              <a:solidFill>
                <a:schemeClr val="dk2"/>
              </a:solidFill>
              <a:latin typeface="Arial"/>
              <a:ea typeface="Arial"/>
              <a:cs typeface="Arial"/>
              <a:sym typeface="Arial"/>
            </a:endParaRPr>
          </a:p>
          <a:p>
            <a:pPr marL="0" lvl="0" indent="0" algn="ctr" rtl="0">
              <a:spcBef>
                <a:spcPts val="1200"/>
              </a:spcBef>
              <a:spcAft>
                <a:spcPts val="1600"/>
              </a:spcAft>
              <a:buNone/>
            </a:pPr>
            <a:endParaRPr/>
          </a:p>
        </p:txBody>
      </p:sp>
      <p:sp>
        <p:nvSpPr>
          <p:cNvPr id="1277" name="Google Shape;1277;p40">
            <a:hlinkClick r:id="rId3" action="ppaction://hlinksldjump"/>
          </p:cNvPr>
          <p:cNvSpPr txBox="1">
            <a:spLocks noGrp="1"/>
          </p:cNvSpPr>
          <p:nvPr>
            <p:ph type="subTitle" idx="2"/>
          </p:nvPr>
        </p:nvSpPr>
        <p:spPr>
          <a:xfrm>
            <a:off x="882350"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Introduction</a:t>
            </a:r>
            <a:endParaRPr/>
          </a:p>
        </p:txBody>
      </p:sp>
      <p:sp>
        <p:nvSpPr>
          <p:cNvPr id="1278" name="Google Shape;1278;p40">
            <a:hlinkClick r:id="rId4" action="ppaction://hlinksldjump"/>
          </p:cNvPr>
          <p:cNvSpPr txBox="1">
            <a:spLocks noGrp="1"/>
          </p:cNvSpPr>
          <p:nvPr>
            <p:ph type="subTitle" idx="3"/>
          </p:nvPr>
        </p:nvSpPr>
        <p:spPr>
          <a:xfrm>
            <a:off x="5201275"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ethodology</a:t>
            </a:r>
            <a:endParaRPr/>
          </a:p>
        </p:txBody>
      </p:sp>
      <p:sp>
        <p:nvSpPr>
          <p:cNvPr id="1279" name="Google Shape;1279;p40">
            <a:hlinkClick r:id="" action="ppaction://noaction"/>
          </p:cNvPr>
          <p:cNvSpPr txBox="1">
            <a:spLocks noGrp="1"/>
          </p:cNvSpPr>
          <p:nvPr>
            <p:ph type="subTitle" idx="4"/>
          </p:nvPr>
        </p:nvSpPr>
        <p:spPr>
          <a:xfrm>
            <a:off x="2046700"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The Question</a:t>
            </a:r>
            <a:endParaRPr/>
          </a:p>
        </p:txBody>
      </p:sp>
      <p:sp>
        <p:nvSpPr>
          <p:cNvPr id="1280" name="Google Shape;1280;p40">
            <a:hlinkClick r:id="" action="ppaction://noaction"/>
          </p:cNvPr>
          <p:cNvSpPr txBox="1">
            <a:spLocks noGrp="1"/>
          </p:cNvSpPr>
          <p:nvPr>
            <p:ph type="subTitle" idx="5"/>
          </p:nvPr>
        </p:nvSpPr>
        <p:spPr>
          <a:xfrm>
            <a:off x="3153400"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Why</a:t>
            </a:r>
            <a:endParaRPr/>
          </a:p>
        </p:txBody>
      </p:sp>
      <p:sp>
        <p:nvSpPr>
          <p:cNvPr id="1281" name="Google Shape;1281;p40">
            <a:hlinkClick r:id="" action="ppaction://hlinkshowjump?jump=nextslide"/>
          </p:cNvPr>
          <p:cNvSpPr/>
          <p:nvPr/>
        </p:nvSpPr>
        <p:spPr>
          <a:xfrm>
            <a:off x="8478050" y="6390550"/>
            <a:ext cx="422700" cy="268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1282;p40">
            <a:hlinkClick r:id="" action="ppaction://hlinkshowjump?jump=previousslide"/>
          </p:cNvPr>
          <p:cNvSpPr/>
          <p:nvPr/>
        </p:nvSpPr>
        <p:spPr>
          <a:xfrm>
            <a:off x="8001300" y="6390550"/>
            <a:ext cx="422700" cy="268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40">
            <a:hlinkClick r:id="" action="ppaction://noaction"/>
          </p:cNvPr>
          <p:cNvSpPr txBox="1">
            <a:spLocks noGrp="1"/>
          </p:cNvSpPr>
          <p:nvPr>
            <p:ph type="subTitle" idx="6"/>
          </p:nvPr>
        </p:nvSpPr>
        <p:spPr>
          <a:xfrm>
            <a:off x="4094575"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Data Source</a:t>
            </a:r>
            <a:endParaRPr/>
          </a:p>
        </p:txBody>
      </p:sp>
      <p:sp>
        <p:nvSpPr>
          <p:cNvPr id="1284" name="Google Shape;1284;p40"/>
          <p:cNvSpPr txBox="1">
            <a:spLocks noGrp="1"/>
          </p:cNvSpPr>
          <p:nvPr>
            <p:ph type="title"/>
          </p:nvPr>
        </p:nvSpPr>
        <p:spPr>
          <a:xfrm>
            <a:off x="2927400" y="1613713"/>
            <a:ext cx="3289200" cy="7035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3000">
                <a:solidFill>
                  <a:schemeClr val="accent5"/>
                </a:solidFill>
              </a:rPr>
              <a:t>METHODOLOGY</a:t>
            </a:r>
            <a:endParaRPr sz="3000">
              <a:solidFill>
                <a:schemeClr val="accent5"/>
              </a:solidFill>
            </a:endParaRPr>
          </a:p>
        </p:txBody>
      </p:sp>
      <p:sp>
        <p:nvSpPr>
          <p:cNvPr id="1285" name="Google Shape;1285;p40"/>
          <p:cNvSpPr/>
          <p:nvPr/>
        </p:nvSpPr>
        <p:spPr>
          <a:xfrm>
            <a:off x="8219865" y="5852132"/>
            <a:ext cx="438763" cy="432856"/>
          </a:xfrm>
          <a:custGeom>
            <a:avLst/>
            <a:gdLst/>
            <a:ahLst/>
            <a:cxnLst/>
            <a:rect l="l" t="t" r="r" b="b"/>
            <a:pathLst>
              <a:path w="12985" h="12986" extrusionOk="0">
                <a:moveTo>
                  <a:pt x="6493" y="766"/>
                </a:moveTo>
                <a:cubicBezTo>
                  <a:pt x="9652" y="766"/>
                  <a:pt x="12220" y="3334"/>
                  <a:pt x="12220" y="6494"/>
                </a:cubicBezTo>
                <a:cubicBezTo>
                  <a:pt x="12221" y="8912"/>
                  <a:pt x="10667" y="11089"/>
                  <a:pt x="8405" y="11892"/>
                </a:cubicBezTo>
                <a:cubicBezTo>
                  <a:pt x="8404" y="11876"/>
                  <a:pt x="8401" y="11856"/>
                  <a:pt x="8401" y="11838"/>
                </a:cubicBezTo>
                <a:lnTo>
                  <a:pt x="8401" y="10318"/>
                </a:lnTo>
                <a:cubicBezTo>
                  <a:pt x="8401" y="9880"/>
                  <a:pt x="8307" y="9595"/>
                  <a:pt x="8187" y="9381"/>
                </a:cubicBezTo>
                <a:cubicBezTo>
                  <a:pt x="9346" y="9068"/>
                  <a:pt x="10172" y="8374"/>
                  <a:pt x="10541" y="7394"/>
                </a:cubicBezTo>
                <a:cubicBezTo>
                  <a:pt x="10932" y="6359"/>
                  <a:pt x="10756" y="5120"/>
                  <a:pt x="10105" y="4260"/>
                </a:cubicBezTo>
                <a:cubicBezTo>
                  <a:pt x="10222" y="3739"/>
                  <a:pt x="10221" y="2913"/>
                  <a:pt x="9937" y="2540"/>
                </a:cubicBezTo>
                <a:cubicBezTo>
                  <a:pt x="9814" y="2380"/>
                  <a:pt x="9644" y="2292"/>
                  <a:pt x="9459" y="2292"/>
                </a:cubicBezTo>
                <a:cubicBezTo>
                  <a:pt x="9451" y="2292"/>
                  <a:pt x="9444" y="2292"/>
                  <a:pt x="9436" y="2293"/>
                </a:cubicBezTo>
                <a:cubicBezTo>
                  <a:pt x="8838" y="2321"/>
                  <a:pt x="8378" y="2619"/>
                  <a:pt x="7877" y="2921"/>
                </a:cubicBezTo>
                <a:cubicBezTo>
                  <a:pt x="7419" y="2806"/>
                  <a:pt x="6956" y="2742"/>
                  <a:pt x="6499" y="2737"/>
                </a:cubicBezTo>
                <a:lnTo>
                  <a:pt x="6489" y="2737"/>
                </a:lnTo>
                <a:cubicBezTo>
                  <a:pt x="6032" y="2742"/>
                  <a:pt x="5569" y="2803"/>
                  <a:pt x="5110" y="2921"/>
                </a:cubicBezTo>
                <a:cubicBezTo>
                  <a:pt x="4613" y="2620"/>
                  <a:pt x="4151" y="2321"/>
                  <a:pt x="3550" y="2293"/>
                </a:cubicBezTo>
                <a:cubicBezTo>
                  <a:pt x="3541" y="2292"/>
                  <a:pt x="3531" y="2292"/>
                  <a:pt x="3522" y="2292"/>
                </a:cubicBezTo>
                <a:cubicBezTo>
                  <a:pt x="3338" y="2292"/>
                  <a:pt x="3171" y="2378"/>
                  <a:pt x="3049" y="2540"/>
                </a:cubicBezTo>
                <a:cubicBezTo>
                  <a:pt x="2765" y="2913"/>
                  <a:pt x="2761" y="3736"/>
                  <a:pt x="2881" y="4260"/>
                </a:cubicBezTo>
                <a:cubicBezTo>
                  <a:pt x="2230" y="5117"/>
                  <a:pt x="2052" y="6357"/>
                  <a:pt x="2442" y="7394"/>
                </a:cubicBezTo>
                <a:cubicBezTo>
                  <a:pt x="2813" y="8374"/>
                  <a:pt x="3638" y="9068"/>
                  <a:pt x="4796" y="9381"/>
                </a:cubicBezTo>
                <a:cubicBezTo>
                  <a:pt x="4702" y="9549"/>
                  <a:pt x="4622" y="9763"/>
                  <a:pt x="4594" y="10062"/>
                </a:cubicBezTo>
                <a:cubicBezTo>
                  <a:pt x="4456" y="10110"/>
                  <a:pt x="4325" y="10135"/>
                  <a:pt x="4203" y="10135"/>
                </a:cubicBezTo>
                <a:cubicBezTo>
                  <a:pt x="3908" y="10135"/>
                  <a:pt x="3664" y="9990"/>
                  <a:pt x="3480" y="9681"/>
                </a:cubicBezTo>
                <a:cubicBezTo>
                  <a:pt x="3194" y="9199"/>
                  <a:pt x="2720" y="8805"/>
                  <a:pt x="2172" y="8805"/>
                </a:cubicBezTo>
                <a:cubicBezTo>
                  <a:pt x="2139" y="8805"/>
                  <a:pt x="2106" y="8807"/>
                  <a:pt x="2072" y="8810"/>
                </a:cubicBezTo>
                <a:cubicBezTo>
                  <a:pt x="1861" y="8828"/>
                  <a:pt x="1706" y="9012"/>
                  <a:pt x="1724" y="9223"/>
                </a:cubicBezTo>
                <a:cubicBezTo>
                  <a:pt x="1743" y="9422"/>
                  <a:pt x="1907" y="9572"/>
                  <a:pt x="2103" y="9572"/>
                </a:cubicBezTo>
                <a:cubicBezTo>
                  <a:pt x="2115" y="9572"/>
                  <a:pt x="2127" y="9571"/>
                  <a:pt x="2139" y="9570"/>
                </a:cubicBezTo>
                <a:cubicBezTo>
                  <a:pt x="2149" y="9569"/>
                  <a:pt x="2159" y="9569"/>
                  <a:pt x="2170" y="9569"/>
                </a:cubicBezTo>
                <a:cubicBezTo>
                  <a:pt x="2432" y="9569"/>
                  <a:pt x="2686" y="9839"/>
                  <a:pt x="2823" y="10071"/>
                </a:cubicBezTo>
                <a:cubicBezTo>
                  <a:pt x="3156" y="10632"/>
                  <a:pt x="3656" y="10898"/>
                  <a:pt x="4203" y="10898"/>
                </a:cubicBezTo>
                <a:cubicBezTo>
                  <a:pt x="4327" y="10898"/>
                  <a:pt x="4454" y="10885"/>
                  <a:pt x="4582" y="10857"/>
                </a:cubicBezTo>
                <a:lnTo>
                  <a:pt x="4582" y="11836"/>
                </a:lnTo>
                <a:cubicBezTo>
                  <a:pt x="4582" y="11854"/>
                  <a:pt x="4581" y="11874"/>
                  <a:pt x="4578" y="11892"/>
                </a:cubicBezTo>
                <a:cubicBezTo>
                  <a:pt x="2316" y="11089"/>
                  <a:pt x="765" y="8915"/>
                  <a:pt x="765" y="6494"/>
                </a:cubicBezTo>
                <a:cubicBezTo>
                  <a:pt x="765" y="3334"/>
                  <a:pt x="3333" y="766"/>
                  <a:pt x="6493" y="766"/>
                </a:cubicBezTo>
                <a:close/>
                <a:moveTo>
                  <a:pt x="3626" y="3068"/>
                </a:moveTo>
                <a:lnTo>
                  <a:pt x="3626" y="3068"/>
                </a:lnTo>
                <a:cubicBezTo>
                  <a:pt x="3954" y="3117"/>
                  <a:pt x="4262" y="3303"/>
                  <a:pt x="4613" y="3516"/>
                </a:cubicBezTo>
                <a:cubicBezTo>
                  <a:pt x="4774" y="3615"/>
                  <a:pt x="4899" y="3707"/>
                  <a:pt x="5066" y="3707"/>
                </a:cubicBezTo>
                <a:cubicBezTo>
                  <a:pt x="5109" y="3707"/>
                  <a:pt x="5155" y="3701"/>
                  <a:pt x="5204" y="3687"/>
                </a:cubicBezTo>
                <a:cubicBezTo>
                  <a:pt x="5634" y="3572"/>
                  <a:pt x="6067" y="3508"/>
                  <a:pt x="6492" y="3504"/>
                </a:cubicBezTo>
                <a:cubicBezTo>
                  <a:pt x="6917" y="3508"/>
                  <a:pt x="7349" y="3572"/>
                  <a:pt x="7779" y="3687"/>
                </a:cubicBezTo>
                <a:cubicBezTo>
                  <a:pt x="7827" y="3701"/>
                  <a:pt x="7872" y="3707"/>
                  <a:pt x="7914" y="3707"/>
                </a:cubicBezTo>
                <a:cubicBezTo>
                  <a:pt x="8084" y="3707"/>
                  <a:pt x="8211" y="3612"/>
                  <a:pt x="8371" y="3516"/>
                </a:cubicBezTo>
                <a:cubicBezTo>
                  <a:pt x="8723" y="3303"/>
                  <a:pt x="9029" y="3118"/>
                  <a:pt x="9357" y="3068"/>
                </a:cubicBezTo>
                <a:lnTo>
                  <a:pt x="9357" y="3068"/>
                </a:lnTo>
                <a:cubicBezTo>
                  <a:pt x="9430" y="3285"/>
                  <a:pt x="9448" y="3845"/>
                  <a:pt x="9333" y="4191"/>
                </a:cubicBezTo>
                <a:cubicBezTo>
                  <a:pt x="9272" y="4370"/>
                  <a:pt x="9346" y="4545"/>
                  <a:pt x="9430" y="4641"/>
                </a:cubicBezTo>
                <a:cubicBezTo>
                  <a:pt x="9972" y="5284"/>
                  <a:pt x="10137" y="6307"/>
                  <a:pt x="9828" y="7127"/>
                </a:cubicBezTo>
                <a:cubicBezTo>
                  <a:pt x="9597" y="7741"/>
                  <a:pt x="9000" y="8523"/>
                  <a:pt x="7487" y="8749"/>
                </a:cubicBezTo>
                <a:cubicBezTo>
                  <a:pt x="7358" y="8767"/>
                  <a:pt x="7247" y="8851"/>
                  <a:pt x="7194" y="8971"/>
                </a:cubicBezTo>
                <a:cubicBezTo>
                  <a:pt x="7141" y="9091"/>
                  <a:pt x="7153" y="9227"/>
                  <a:pt x="7223" y="9337"/>
                </a:cubicBezTo>
                <a:cubicBezTo>
                  <a:pt x="7445" y="9675"/>
                  <a:pt x="7639" y="9761"/>
                  <a:pt x="7639" y="10320"/>
                </a:cubicBezTo>
                <a:lnTo>
                  <a:pt x="7639" y="11844"/>
                </a:lnTo>
                <a:cubicBezTo>
                  <a:pt x="7639" y="11930"/>
                  <a:pt x="7650" y="12017"/>
                  <a:pt x="7669" y="12102"/>
                </a:cubicBezTo>
                <a:cubicBezTo>
                  <a:pt x="7284" y="12181"/>
                  <a:pt x="6891" y="12223"/>
                  <a:pt x="6493" y="12223"/>
                </a:cubicBezTo>
                <a:cubicBezTo>
                  <a:pt x="6094" y="12220"/>
                  <a:pt x="5702" y="12179"/>
                  <a:pt x="5317" y="12099"/>
                </a:cubicBezTo>
                <a:cubicBezTo>
                  <a:pt x="5335" y="12015"/>
                  <a:pt x="5347" y="11929"/>
                  <a:pt x="5347" y="11839"/>
                </a:cubicBezTo>
                <a:lnTo>
                  <a:pt x="5347" y="10318"/>
                </a:lnTo>
                <a:cubicBezTo>
                  <a:pt x="5347" y="9761"/>
                  <a:pt x="5540" y="9675"/>
                  <a:pt x="5763" y="9335"/>
                </a:cubicBezTo>
                <a:cubicBezTo>
                  <a:pt x="5834" y="9227"/>
                  <a:pt x="5843" y="9089"/>
                  <a:pt x="5790" y="8969"/>
                </a:cubicBezTo>
                <a:cubicBezTo>
                  <a:pt x="5737" y="8849"/>
                  <a:pt x="5628" y="8766"/>
                  <a:pt x="5499" y="8748"/>
                </a:cubicBezTo>
                <a:cubicBezTo>
                  <a:pt x="3984" y="8521"/>
                  <a:pt x="3389" y="7740"/>
                  <a:pt x="3157" y="7125"/>
                </a:cubicBezTo>
                <a:cubicBezTo>
                  <a:pt x="2849" y="6306"/>
                  <a:pt x="3011" y="5283"/>
                  <a:pt x="3556" y="4639"/>
                </a:cubicBezTo>
                <a:cubicBezTo>
                  <a:pt x="3640" y="4543"/>
                  <a:pt x="3714" y="4369"/>
                  <a:pt x="3653" y="4194"/>
                </a:cubicBezTo>
                <a:cubicBezTo>
                  <a:pt x="3536" y="3842"/>
                  <a:pt x="3555" y="3285"/>
                  <a:pt x="3626" y="3068"/>
                </a:cubicBezTo>
                <a:close/>
                <a:moveTo>
                  <a:pt x="6493" y="1"/>
                </a:moveTo>
                <a:cubicBezTo>
                  <a:pt x="2913" y="1"/>
                  <a:pt x="0" y="2913"/>
                  <a:pt x="0" y="6494"/>
                </a:cubicBezTo>
                <a:cubicBezTo>
                  <a:pt x="0" y="10108"/>
                  <a:pt x="2935" y="12985"/>
                  <a:pt x="6493" y="12985"/>
                </a:cubicBezTo>
                <a:cubicBezTo>
                  <a:pt x="10055" y="12985"/>
                  <a:pt x="12984" y="10103"/>
                  <a:pt x="12984" y="6494"/>
                </a:cubicBezTo>
                <a:cubicBezTo>
                  <a:pt x="12983" y="2913"/>
                  <a:pt x="10070" y="1"/>
                  <a:pt x="649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289"/>
        <p:cNvGrpSpPr/>
        <p:nvPr/>
      </p:nvGrpSpPr>
      <p:grpSpPr>
        <a:xfrm>
          <a:off x="0" y="0"/>
          <a:ext cx="0" cy="0"/>
          <a:chOff x="0" y="0"/>
          <a:chExt cx="0" cy="0"/>
        </a:xfrm>
      </p:grpSpPr>
      <p:sp>
        <p:nvSpPr>
          <p:cNvPr id="1290" name="Google Shape;1290;p41"/>
          <p:cNvSpPr/>
          <p:nvPr/>
        </p:nvSpPr>
        <p:spPr>
          <a:xfrm>
            <a:off x="6871150" y="4125300"/>
            <a:ext cx="893400" cy="61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1" name="Google Shape;1291;p41"/>
          <p:cNvSpPr/>
          <p:nvPr/>
        </p:nvSpPr>
        <p:spPr>
          <a:xfrm>
            <a:off x="1550275" y="4125300"/>
            <a:ext cx="1011600" cy="5256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1292;p41"/>
          <p:cNvSpPr txBox="1">
            <a:spLocks noGrp="1"/>
          </p:cNvSpPr>
          <p:nvPr>
            <p:ph type="subTitle" idx="1"/>
          </p:nvPr>
        </p:nvSpPr>
        <p:spPr>
          <a:xfrm>
            <a:off x="882350" y="2591299"/>
            <a:ext cx="6896700" cy="28872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endParaRPr sz="1600" b="1">
              <a:latin typeface="Arial"/>
              <a:ea typeface="Arial"/>
              <a:cs typeface="Arial"/>
              <a:sym typeface="Arial"/>
            </a:endParaRPr>
          </a:p>
          <a:p>
            <a:pPr marL="457200" lvl="0" indent="-330200" algn="l" rtl="0">
              <a:lnSpc>
                <a:spcPct val="115000"/>
              </a:lnSpc>
              <a:spcBef>
                <a:spcPts val="0"/>
              </a:spcBef>
              <a:spcAft>
                <a:spcPts val="0"/>
              </a:spcAft>
              <a:buSzPts val="1600"/>
              <a:buFont typeface="Arial"/>
              <a:buChar char="●"/>
            </a:pPr>
            <a:r>
              <a:rPr lang="en" sz="1600" b="1">
                <a:latin typeface="Arial"/>
                <a:ea typeface="Arial"/>
                <a:cs typeface="Arial"/>
                <a:sym typeface="Arial"/>
              </a:rPr>
              <a:t>Input layer</a:t>
            </a:r>
            <a:r>
              <a:rPr lang="en" sz="1600">
                <a:latin typeface="Arial"/>
                <a:ea typeface="Arial"/>
                <a:cs typeface="Arial"/>
                <a:sym typeface="Arial"/>
              </a:rPr>
              <a:t> using </a:t>
            </a:r>
            <a:r>
              <a:rPr lang="en" sz="1600" b="1">
                <a:solidFill>
                  <a:schemeClr val="dk2"/>
                </a:solidFill>
                <a:latin typeface="Arial"/>
                <a:ea typeface="Arial"/>
                <a:cs typeface="Arial"/>
                <a:sym typeface="Arial"/>
              </a:rPr>
              <a:t>ReLu</a:t>
            </a:r>
            <a:r>
              <a:rPr lang="en" sz="1600">
                <a:latin typeface="Arial"/>
                <a:ea typeface="Arial"/>
                <a:cs typeface="Arial"/>
                <a:sym typeface="Arial"/>
              </a:rPr>
              <a:t> - 148 variables fed to a neuron. These neurons will connect to a 100-neuron hidden layer </a:t>
            </a:r>
            <a:br>
              <a:rPr lang="en" sz="1600">
                <a:latin typeface="Arial"/>
                <a:ea typeface="Arial"/>
                <a:cs typeface="Arial"/>
                <a:sym typeface="Arial"/>
              </a:rPr>
            </a:br>
            <a:endParaRPr sz="1600">
              <a:latin typeface="Arial"/>
              <a:ea typeface="Arial"/>
              <a:cs typeface="Arial"/>
              <a:sym typeface="Arial"/>
            </a:endParaRPr>
          </a:p>
          <a:p>
            <a:pPr marL="457200" lvl="0" indent="-330200" algn="l" rtl="0">
              <a:lnSpc>
                <a:spcPct val="115000"/>
              </a:lnSpc>
              <a:spcBef>
                <a:spcPts val="0"/>
              </a:spcBef>
              <a:spcAft>
                <a:spcPts val="0"/>
              </a:spcAft>
              <a:buSzPts val="1600"/>
              <a:buFont typeface="Arial"/>
              <a:buChar char="●"/>
            </a:pPr>
            <a:r>
              <a:rPr lang="en" sz="1600" b="1">
                <a:latin typeface="Arial"/>
                <a:ea typeface="Arial"/>
                <a:cs typeface="Arial"/>
                <a:sym typeface="Arial"/>
              </a:rPr>
              <a:t>Hidden layer </a:t>
            </a:r>
            <a:r>
              <a:rPr lang="en" sz="1600">
                <a:latin typeface="Arial"/>
                <a:ea typeface="Arial"/>
                <a:cs typeface="Arial"/>
                <a:sym typeface="Arial"/>
              </a:rPr>
              <a:t>using </a:t>
            </a:r>
            <a:r>
              <a:rPr lang="en" sz="1600" b="1">
                <a:solidFill>
                  <a:schemeClr val="accent1"/>
                </a:solidFill>
                <a:latin typeface="Arial"/>
                <a:ea typeface="Arial"/>
                <a:cs typeface="Arial"/>
                <a:sym typeface="Arial"/>
              </a:rPr>
              <a:t>softmax</a:t>
            </a:r>
            <a:r>
              <a:rPr lang="en" sz="1600">
                <a:latin typeface="Arial"/>
                <a:ea typeface="Arial"/>
                <a:cs typeface="Arial"/>
                <a:sym typeface="Arial"/>
              </a:rPr>
              <a:t>, optimizer algorithm </a:t>
            </a:r>
            <a:r>
              <a:rPr lang="en" sz="1600" b="1">
                <a:solidFill>
                  <a:schemeClr val="accent1"/>
                </a:solidFill>
                <a:latin typeface="Arial"/>
                <a:ea typeface="Arial"/>
                <a:cs typeface="Arial"/>
                <a:sym typeface="Arial"/>
              </a:rPr>
              <a:t>adam</a:t>
            </a:r>
            <a:r>
              <a:rPr lang="en" sz="1600">
                <a:latin typeface="Arial"/>
                <a:ea typeface="Arial"/>
                <a:cs typeface="Arial"/>
                <a:sym typeface="Arial"/>
              </a:rPr>
              <a:t>, and loss function sparse categorical </a:t>
            </a:r>
            <a:r>
              <a:rPr lang="en" sz="1600" b="1">
                <a:solidFill>
                  <a:schemeClr val="accent1"/>
                </a:solidFill>
                <a:latin typeface="Arial"/>
                <a:ea typeface="Arial"/>
                <a:cs typeface="Arial"/>
                <a:sym typeface="Arial"/>
              </a:rPr>
              <a:t>crossentropy</a:t>
            </a:r>
            <a:br>
              <a:rPr lang="en" sz="1600">
                <a:latin typeface="Arial"/>
                <a:ea typeface="Arial"/>
                <a:cs typeface="Arial"/>
                <a:sym typeface="Arial"/>
              </a:rPr>
            </a:br>
            <a:endParaRPr sz="1600">
              <a:latin typeface="Arial"/>
              <a:ea typeface="Arial"/>
              <a:cs typeface="Arial"/>
              <a:sym typeface="Arial"/>
            </a:endParaRPr>
          </a:p>
          <a:p>
            <a:pPr marL="457200" lvl="0" indent="-330200" algn="l" rtl="0">
              <a:lnSpc>
                <a:spcPct val="115000"/>
              </a:lnSpc>
              <a:spcBef>
                <a:spcPts val="0"/>
              </a:spcBef>
              <a:spcAft>
                <a:spcPts val="0"/>
              </a:spcAft>
              <a:buSzPts val="1600"/>
              <a:buFont typeface="Arial"/>
              <a:buChar char="●"/>
            </a:pPr>
            <a:r>
              <a:rPr lang="en" sz="1600" b="1">
                <a:latin typeface="Arial"/>
                <a:ea typeface="Arial"/>
                <a:cs typeface="Arial"/>
                <a:sym typeface="Arial"/>
              </a:rPr>
              <a:t>Output layer</a:t>
            </a:r>
            <a:r>
              <a:rPr lang="en" sz="1600">
                <a:latin typeface="Arial"/>
                <a:ea typeface="Arial"/>
                <a:cs typeface="Arial"/>
                <a:sym typeface="Arial"/>
              </a:rPr>
              <a:t> will consist of five categories: voted Trump, voted Hillary Clinton, Voted Other, Did not Vote, and Not Sure/Don't Recall</a:t>
            </a:r>
            <a:endParaRPr sz="1600">
              <a:latin typeface="Arial"/>
              <a:ea typeface="Arial"/>
              <a:cs typeface="Arial"/>
              <a:sym typeface="Arial"/>
            </a:endParaRPr>
          </a:p>
          <a:p>
            <a:pPr marL="0" lvl="0" indent="0" algn="ctr" rtl="0">
              <a:spcBef>
                <a:spcPts val="0"/>
              </a:spcBef>
              <a:spcAft>
                <a:spcPts val="1600"/>
              </a:spcAft>
              <a:buNone/>
            </a:pPr>
            <a:endParaRPr/>
          </a:p>
        </p:txBody>
      </p:sp>
      <p:sp>
        <p:nvSpPr>
          <p:cNvPr id="1293" name="Google Shape;1293;p41">
            <a:hlinkClick r:id="rId3" action="ppaction://hlinksldjump"/>
          </p:cNvPr>
          <p:cNvSpPr txBox="1">
            <a:spLocks noGrp="1"/>
          </p:cNvSpPr>
          <p:nvPr>
            <p:ph type="subTitle" idx="2"/>
          </p:nvPr>
        </p:nvSpPr>
        <p:spPr>
          <a:xfrm>
            <a:off x="882350"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Introduction</a:t>
            </a:r>
            <a:endParaRPr/>
          </a:p>
        </p:txBody>
      </p:sp>
      <p:sp>
        <p:nvSpPr>
          <p:cNvPr id="1294" name="Google Shape;1294;p41">
            <a:hlinkClick r:id="rId4" action="ppaction://hlinksldjump"/>
          </p:cNvPr>
          <p:cNvSpPr txBox="1">
            <a:spLocks noGrp="1"/>
          </p:cNvSpPr>
          <p:nvPr>
            <p:ph type="subTitle" idx="3"/>
          </p:nvPr>
        </p:nvSpPr>
        <p:spPr>
          <a:xfrm>
            <a:off x="5201275"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Methodology</a:t>
            </a:r>
            <a:endParaRPr/>
          </a:p>
        </p:txBody>
      </p:sp>
      <p:sp>
        <p:nvSpPr>
          <p:cNvPr id="1295" name="Google Shape;1295;p41">
            <a:hlinkClick r:id="" action="ppaction://noaction"/>
          </p:cNvPr>
          <p:cNvSpPr txBox="1">
            <a:spLocks noGrp="1"/>
          </p:cNvSpPr>
          <p:nvPr>
            <p:ph type="subTitle" idx="4"/>
          </p:nvPr>
        </p:nvSpPr>
        <p:spPr>
          <a:xfrm>
            <a:off x="2046700"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The Question</a:t>
            </a:r>
            <a:endParaRPr/>
          </a:p>
        </p:txBody>
      </p:sp>
      <p:sp>
        <p:nvSpPr>
          <p:cNvPr id="1296" name="Google Shape;1296;p41">
            <a:hlinkClick r:id="" action="ppaction://noaction"/>
          </p:cNvPr>
          <p:cNvSpPr txBox="1">
            <a:spLocks noGrp="1"/>
          </p:cNvSpPr>
          <p:nvPr>
            <p:ph type="subTitle" idx="5"/>
          </p:nvPr>
        </p:nvSpPr>
        <p:spPr>
          <a:xfrm>
            <a:off x="3153400"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Why</a:t>
            </a:r>
            <a:endParaRPr/>
          </a:p>
        </p:txBody>
      </p:sp>
      <p:sp>
        <p:nvSpPr>
          <p:cNvPr id="1297" name="Google Shape;1297;p41">
            <a:hlinkClick r:id="" action="ppaction://hlinkshowjump?jump=nextslide"/>
          </p:cNvPr>
          <p:cNvSpPr/>
          <p:nvPr/>
        </p:nvSpPr>
        <p:spPr>
          <a:xfrm>
            <a:off x="8478050" y="6390550"/>
            <a:ext cx="422700" cy="268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41">
            <a:hlinkClick r:id="" action="ppaction://hlinkshowjump?jump=previousslide"/>
          </p:cNvPr>
          <p:cNvSpPr/>
          <p:nvPr/>
        </p:nvSpPr>
        <p:spPr>
          <a:xfrm>
            <a:off x="8001300" y="6390550"/>
            <a:ext cx="422700" cy="268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41">
            <a:hlinkClick r:id="" action="ppaction://noaction"/>
          </p:cNvPr>
          <p:cNvSpPr txBox="1">
            <a:spLocks noGrp="1"/>
          </p:cNvSpPr>
          <p:nvPr>
            <p:ph type="subTitle" idx="6"/>
          </p:nvPr>
        </p:nvSpPr>
        <p:spPr>
          <a:xfrm>
            <a:off x="4094575" y="720000"/>
            <a:ext cx="1106700" cy="462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Data Source</a:t>
            </a:r>
            <a:endParaRPr/>
          </a:p>
        </p:txBody>
      </p:sp>
      <p:sp>
        <p:nvSpPr>
          <p:cNvPr id="1300" name="Google Shape;1300;p41"/>
          <p:cNvSpPr txBox="1">
            <a:spLocks noGrp="1"/>
          </p:cNvSpPr>
          <p:nvPr>
            <p:ph type="title"/>
          </p:nvPr>
        </p:nvSpPr>
        <p:spPr>
          <a:xfrm>
            <a:off x="2927400" y="1613713"/>
            <a:ext cx="3289200" cy="7035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3000">
                <a:solidFill>
                  <a:schemeClr val="accent5"/>
                </a:solidFill>
              </a:rPr>
              <a:t>METHODOLOGY</a:t>
            </a:r>
            <a:endParaRPr sz="3000">
              <a:solidFill>
                <a:schemeClr val="accent5"/>
              </a:solidFill>
            </a:endParaRPr>
          </a:p>
        </p:txBody>
      </p:sp>
      <p:sp>
        <p:nvSpPr>
          <p:cNvPr id="1301" name="Google Shape;1301;p41"/>
          <p:cNvSpPr/>
          <p:nvPr/>
        </p:nvSpPr>
        <p:spPr>
          <a:xfrm>
            <a:off x="8219865" y="5852132"/>
            <a:ext cx="438763" cy="432856"/>
          </a:xfrm>
          <a:custGeom>
            <a:avLst/>
            <a:gdLst/>
            <a:ahLst/>
            <a:cxnLst/>
            <a:rect l="l" t="t" r="r" b="b"/>
            <a:pathLst>
              <a:path w="12985" h="12986" extrusionOk="0">
                <a:moveTo>
                  <a:pt x="6493" y="766"/>
                </a:moveTo>
                <a:cubicBezTo>
                  <a:pt x="9652" y="766"/>
                  <a:pt x="12220" y="3334"/>
                  <a:pt x="12220" y="6494"/>
                </a:cubicBezTo>
                <a:cubicBezTo>
                  <a:pt x="12221" y="8912"/>
                  <a:pt x="10667" y="11089"/>
                  <a:pt x="8405" y="11892"/>
                </a:cubicBezTo>
                <a:cubicBezTo>
                  <a:pt x="8404" y="11876"/>
                  <a:pt x="8401" y="11856"/>
                  <a:pt x="8401" y="11838"/>
                </a:cubicBezTo>
                <a:lnTo>
                  <a:pt x="8401" y="10318"/>
                </a:lnTo>
                <a:cubicBezTo>
                  <a:pt x="8401" y="9880"/>
                  <a:pt x="8307" y="9595"/>
                  <a:pt x="8187" y="9381"/>
                </a:cubicBezTo>
                <a:cubicBezTo>
                  <a:pt x="9346" y="9068"/>
                  <a:pt x="10172" y="8374"/>
                  <a:pt x="10541" y="7394"/>
                </a:cubicBezTo>
                <a:cubicBezTo>
                  <a:pt x="10932" y="6359"/>
                  <a:pt x="10756" y="5120"/>
                  <a:pt x="10105" y="4260"/>
                </a:cubicBezTo>
                <a:cubicBezTo>
                  <a:pt x="10222" y="3739"/>
                  <a:pt x="10221" y="2913"/>
                  <a:pt x="9937" y="2540"/>
                </a:cubicBezTo>
                <a:cubicBezTo>
                  <a:pt x="9814" y="2380"/>
                  <a:pt x="9644" y="2292"/>
                  <a:pt x="9459" y="2292"/>
                </a:cubicBezTo>
                <a:cubicBezTo>
                  <a:pt x="9451" y="2292"/>
                  <a:pt x="9444" y="2292"/>
                  <a:pt x="9436" y="2293"/>
                </a:cubicBezTo>
                <a:cubicBezTo>
                  <a:pt x="8838" y="2321"/>
                  <a:pt x="8378" y="2619"/>
                  <a:pt x="7877" y="2921"/>
                </a:cubicBezTo>
                <a:cubicBezTo>
                  <a:pt x="7419" y="2806"/>
                  <a:pt x="6956" y="2742"/>
                  <a:pt x="6499" y="2737"/>
                </a:cubicBezTo>
                <a:lnTo>
                  <a:pt x="6489" y="2737"/>
                </a:lnTo>
                <a:cubicBezTo>
                  <a:pt x="6032" y="2742"/>
                  <a:pt x="5569" y="2803"/>
                  <a:pt x="5110" y="2921"/>
                </a:cubicBezTo>
                <a:cubicBezTo>
                  <a:pt x="4613" y="2620"/>
                  <a:pt x="4151" y="2321"/>
                  <a:pt x="3550" y="2293"/>
                </a:cubicBezTo>
                <a:cubicBezTo>
                  <a:pt x="3541" y="2292"/>
                  <a:pt x="3531" y="2292"/>
                  <a:pt x="3522" y="2292"/>
                </a:cubicBezTo>
                <a:cubicBezTo>
                  <a:pt x="3338" y="2292"/>
                  <a:pt x="3171" y="2378"/>
                  <a:pt x="3049" y="2540"/>
                </a:cubicBezTo>
                <a:cubicBezTo>
                  <a:pt x="2765" y="2913"/>
                  <a:pt x="2761" y="3736"/>
                  <a:pt x="2881" y="4260"/>
                </a:cubicBezTo>
                <a:cubicBezTo>
                  <a:pt x="2230" y="5117"/>
                  <a:pt x="2052" y="6357"/>
                  <a:pt x="2442" y="7394"/>
                </a:cubicBezTo>
                <a:cubicBezTo>
                  <a:pt x="2813" y="8374"/>
                  <a:pt x="3638" y="9068"/>
                  <a:pt x="4796" y="9381"/>
                </a:cubicBezTo>
                <a:cubicBezTo>
                  <a:pt x="4702" y="9549"/>
                  <a:pt x="4622" y="9763"/>
                  <a:pt x="4594" y="10062"/>
                </a:cubicBezTo>
                <a:cubicBezTo>
                  <a:pt x="4456" y="10110"/>
                  <a:pt x="4325" y="10135"/>
                  <a:pt x="4203" y="10135"/>
                </a:cubicBezTo>
                <a:cubicBezTo>
                  <a:pt x="3908" y="10135"/>
                  <a:pt x="3664" y="9990"/>
                  <a:pt x="3480" y="9681"/>
                </a:cubicBezTo>
                <a:cubicBezTo>
                  <a:pt x="3194" y="9199"/>
                  <a:pt x="2720" y="8805"/>
                  <a:pt x="2172" y="8805"/>
                </a:cubicBezTo>
                <a:cubicBezTo>
                  <a:pt x="2139" y="8805"/>
                  <a:pt x="2106" y="8807"/>
                  <a:pt x="2072" y="8810"/>
                </a:cubicBezTo>
                <a:cubicBezTo>
                  <a:pt x="1861" y="8828"/>
                  <a:pt x="1706" y="9012"/>
                  <a:pt x="1724" y="9223"/>
                </a:cubicBezTo>
                <a:cubicBezTo>
                  <a:pt x="1743" y="9422"/>
                  <a:pt x="1907" y="9572"/>
                  <a:pt x="2103" y="9572"/>
                </a:cubicBezTo>
                <a:cubicBezTo>
                  <a:pt x="2115" y="9572"/>
                  <a:pt x="2127" y="9571"/>
                  <a:pt x="2139" y="9570"/>
                </a:cubicBezTo>
                <a:cubicBezTo>
                  <a:pt x="2149" y="9569"/>
                  <a:pt x="2159" y="9569"/>
                  <a:pt x="2170" y="9569"/>
                </a:cubicBezTo>
                <a:cubicBezTo>
                  <a:pt x="2432" y="9569"/>
                  <a:pt x="2686" y="9839"/>
                  <a:pt x="2823" y="10071"/>
                </a:cubicBezTo>
                <a:cubicBezTo>
                  <a:pt x="3156" y="10632"/>
                  <a:pt x="3656" y="10898"/>
                  <a:pt x="4203" y="10898"/>
                </a:cubicBezTo>
                <a:cubicBezTo>
                  <a:pt x="4327" y="10898"/>
                  <a:pt x="4454" y="10885"/>
                  <a:pt x="4582" y="10857"/>
                </a:cubicBezTo>
                <a:lnTo>
                  <a:pt x="4582" y="11836"/>
                </a:lnTo>
                <a:cubicBezTo>
                  <a:pt x="4582" y="11854"/>
                  <a:pt x="4581" y="11874"/>
                  <a:pt x="4578" y="11892"/>
                </a:cubicBezTo>
                <a:cubicBezTo>
                  <a:pt x="2316" y="11089"/>
                  <a:pt x="765" y="8915"/>
                  <a:pt x="765" y="6494"/>
                </a:cubicBezTo>
                <a:cubicBezTo>
                  <a:pt x="765" y="3334"/>
                  <a:pt x="3333" y="766"/>
                  <a:pt x="6493" y="766"/>
                </a:cubicBezTo>
                <a:close/>
                <a:moveTo>
                  <a:pt x="3626" y="3068"/>
                </a:moveTo>
                <a:lnTo>
                  <a:pt x="3626" y="3068"/>
                </a:lnTo>
                <a:cubicBezTo>
                  <a:pt x="3954" y="3117"/>
                  <a:pt x="4262" y="3303"/>
                  <a:pt x="4613" y="3516"/>
                </a:cubicBezTo>
                <a:cubicBezTo>
                  <a:pt x="4774" y="3615"/>
                  <a:pt x="4899" y="3707"/>
                  <a:pt x="5066" y="3707"/>
                </a:cubicBezTo>
                <a:cubicBezTo>
                  <a:pt x="5109" y="3707"/>
                  <a:pt x="5155" y="3701"/>
                  <a:pt x="5204" y="3687"/>
                </a:cubicBezTo>
                <a:cubicBezTo>
                  <a:pt x="5634" y="3572"/>
                  <a:pt x="6067" y="3508"/>
                  <a:pt x="6492" y="3504"/>
                </a:cubicBezTo>
                <a:cubicBezTo>
                  <a:pt x="6917" y="3508"/>
                  <a:pt x="7349" y="3572"/>
                  <a:pt x="7779" y="3687"/>
                </a:cubicBezTo>
                <a:cubicBezTo>
                  <a:pt x="7827" y="3701"/>
                  <a:pt x="7872" y="3707"/>
                  <a:pt x="7914" y="3707"/>
                </a:cubicBezTo>
                <a:cubicBezTo>
                  <a:pt x="8084" y="3707"/>
                  <a:pt x="8211" y="3612"/>
                  <a:pt x="8371" y="3516"/>
                </a:cubicBezTo>
                <a:cubicBezTo>
                  <a:pt x="8723" y="3303"/>
                  <a:pt x="9029" y="3118"/>
                  <a:pt x="9357" y="3068"/>
                </a:cubicBezTo>
                <a:lnTo>
                  <a:pt x="9357" y="3068"/>
                </a:lnTo>
                <a:cubicBezTo>
                  <a:pt x="9430" y="3285"/>
                  <a:pt x="9448" y="3845"/>
                  <a:pt x="9333" y="4191"/>
                </a:cubicBezTo>
                <a:cubicBezTo>
                  <a:pt x="9272" y="4370"/>
                  <a:pt x="9346" y="4545"/>
                  <a:pt x="9430" y="4641"/>
                </a:cubicBezTo>
                <a:cubicBezTo>
                  <a:pt x="9972" y="5284"/>
                  <a:pt x="10137" y="6307"/>
                  <a:pt x="9828" y="7127"/>
                </a:cubicBezTo>
                <a:cubicBezTo>
                  <a:pt x="9597" y="7741"/>
                  <a:pt x="9000" y="8523"/>
                  <a:pt x="7487" y="8749"/>
                </a:cubicBezTo>
                <a:cubicBezTo>
                  <a:pt x="7358" y="8767"/>
                  <a:pt x="7247" y="8851"/>
                  <a:pt x="7194" y="8971"/>
                </a:cubicBezTo>
                <a:cubicBezTo>
                  <a:pt x="7141" y="9091"/>
                  <a:pt x="7153" y="9227"/>
                  <a:pt x="7223" y="9337"/>
                </a:cubicBezTo>
                <a:cubicBezTo>
                  <a:pt x="7445" y="9675"/>
                  <a:pt x="7639" y="9761"/>
                  <a:pt x="7639" y="10320"/>
                </a:cubicBezTo>
                <a:lnTo>
                  <a:pt x="7639" y="11844"/>
                </a:lnTo>
                <a:cubicBezTo>
                  <a:pt x="7639" y="11930"/>
                  <a:pt x="7650" y="12017"/>
                  <a:pt x="7669" y="12102"/>
                </a:cubicBezTo>
                <a:cubicBezTo>
                  <a:pt x="7284" y="12181"/>
                  <a:pt x="6891" y="12223"/>
                  <a:pt x="6493" y="12223"/>
                </a:cubicBezTo>
                <a:cubicBezTo>
                  <a:pt x="6094" y="12220"/>
                  <a:pt x="5702" y="12179"/>
                  <a:pt x="5317" y="12099"/>
                </a:cubicBezTo>
                <a:cubicBezTo>
                  <a:pt x="5335" y="12015"/>
                  <a:pt x="5347" y="11929"/>
                  <a:pt x="5347" y="11839"/>
                </a:cubicBezTo>
                <a:lnTo>
                  <a:pt x="5347" y="10318"/>
                </a:lnTo>
                <a:cubicBezTo>
                  <a:pt x="5347" y="9761"/>
                  <a:pt x="5540" y="9675"/>
                  <a:pt x="5763" y="9335"/>
                </a:cubicBezTo>
                <a:cubicBezTo>
                  <a:pt x="5834" y="9227"/>
                  <a:pt x="5843" y="9089"/>
                  <a:pt x="5790" y="8969"/>
                </a:cubicBezTo>
                <a:cubicBezTo>
                  <a:pt x="5737" y="8849"/>
                  <a:pt x="5628" y="8766"/>
                  <a:pt x="5499" y="8748"/>
                </a:cubicBezTo>
                <a:cubicBezTo>
                  <a:pt x="3984" y="8521"/>
                  <a:pt x="3389" y="7740"/>
                  <a:pt x="3157" y="7125"/>
                </a:cubicBezTo>
                <a:cubicBezTo>
                  <a:pt x="2849" y="6306"/>
                  <a:pt x="3011" y="5283"/>
                  <a:pt x="3556" y="4639"/>
                </a:cubicBezTo>
                <a:cubicBezTo>
                  <a:pt x="3640" y="4543"/>
                  <a:pt x="3714" y="4369"/>
                  <a:pt x="3653" y="4194"/>
                </a:cubicBezTo>
                <a:cubicBezTo>
                  <a:pt x="3536" y="3842"/>
                  <a:pt x="3555" y="3285"/>
                  <a:pt x="3626" y="3068"/>
                </a:cubicBezTo>
                <a:close/>
                <a:moveTo>
                  <a:pt x="6493" y="1"/>
                </a:moveTo>
                <a:cubicBezTo>
                  <a:pt x="2913" y="1"/>
                  <a:pt x="0" y="2913"/>
                  <a:pt x="0" y="6494"/>
                </a:cubicBezTo>
                <a:cubicBezTo>
                  <a:pt x="0" y="10108"/>
                  <a:pt x="2935" y="12985"/>
                  <a:pt x="6493" y="12985"/>
                </a:cubicBezTo>
                <a:cubicBezTo>
                  <a:pt x="10055" y="12985"/>
                  <a:pt x="12984" y="10103"/>
                  <a:pt x="12984" y="6494"/>
                </a:cubicBezTo>
                <a:cubicBezTo>
                  <a:pt x="12983" y="2913"/>
                  <a:pt x="10070" y="1"/>
                  <a:pt x="6493"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30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6AF48F-D0FC-7846-A8DF-B3706E03EACF}"/>
              </a:ext>
            </a:extLst>
          </p:cNvPr>
          <p:cNvGraphicFramePr>
            <a:graphicFrameLocks noChangeAspect="1"/>
          </p:cNvGraphicFramePr>
          <p:nvPr>
            <p:custDataLst>
              <p:tags r:id="rId2"/>
            </p:custDataLst>
            <p:extLst>
              <p:ext uri="{D42A27DB-BD31-4B8C-83A1-F6EECF244321}">
                <p14:modId xmlns:p14="http://schemas.microsoft.com/office/powerpoint/2010/main" val="9743991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7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302" name="Google Shape;2302;p61"/>
          <p:cNvSpPr txBox="1">
            <a:spLocks noGrp="1"/>
          </p:cNvSpPr>
          <p:nvPr>
            <p:ph type="ctrTitle"/>
          </p:nvPr>
        </p:nvSpPr>
        <p:spPr>
          <a:xfrm>
            <a:off x="1952850" y="1623088"/>
            <a:ext cx="5238300" cy="15021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t>Questions</a:t>
            </a:r>
            <a:endParaRPr dirty="0"/>
          </a:p>
        </p:txBody>
      </p:sp>
      <p:sp>
        <p:nvSpPr>
          <p:cNvPr id="2333" name="Google Shape;2333;p61">
            <a:hlinkClick r:id="" action="ppaction://hlinkshowjump?jump=nextslide"/>
          </p:cNvPr>
          <p:cNvSpPr/>
          <p:nvPr/>
        </p:nvSpPr>
        <p:spPr>
          <a:xfrm>
            <a:off x="8478050" y="6390550"/>
            <a:ext cx="422700" cy="268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2334;p61">
            <a:hlinkClick r:id="" action="ppaction://hlinkshowjump?jump=previousslide"/>
          </p:cNvPr>
          <p:cNvSpPr/>
          <p:nvPr/>
        </p:nvSpPr>
        <p:spPr>
          <a:xfrm>
            <a:off x="8001300" y="6390550"/>
            <a:ext cx="422700" cy="268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Subtitle 3">
            <a:extLst>
              <a:ext uri="{FF2B5EF4-FFF2-40B4-BE49-F238E27FC236}">
                <a16:creationId xmlns:a16="http://schemas.microsoft.com/office/drawing/2014/main" id="{B9DBF347-D41F-994E-939A-192E9406852E}"/>
              </a:ext>
            </a:extLst>
          </p:cNvPr>
          <p:cNvSpPr>
            <a:spLocks noGrp="1"/>
          </p:cNvSpPr>
          <p:nvPr>
            <p:ph type="subTitle" idx="2"/>
          </p:nvPr>
        </p:nvSpPr>
        <p:spPr>
          <a:xfrm>
            <a:off x="2679300" y="4757440"/>
            <a:ext cx="3785400" cy="835838"/>
          </a:xfrm>
          <a:solidFill>
            <a:schemeClr val="tx2"/>
          </a:solidFill>
        </p:spPr>
        <p:txBody>
          <a:bodyPr/>
          <a:lstStyle/>
          <a:p>
            <a:r>
              <a:rPr lang="en-US" dirty="0"/>
              <a:t> </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sher Interactive Portfolio by Slidesgo">
  <a:themeElements>
    <a:clrScheme name="Simple Light">
      <a:dk1>
        <a:srgbClr val="191919"/>
      </a:dk1>
      <a:lt1>
        <a:srgbClr val="FFFFFF"/>
      </a:lt1>
      <a:dk2>
        <a:srgbClr val="FD2F2F"/>
      </a:dk2>
      <a:lt2>
        <a:srgbClr val="F3F3F3"/>
      </a:lt2>
      <a:accent1>
        <a:srgbClr val="5B51BE"/>
      </a:accent1>
      <a:accent2>
        <a:srgbClr val="4E22D3"/>
      </a:accent2>
      <a:accent3>
        <a:srgbClr val="1B02C5"/>
      </a:accent3>
      <a:accent4>
        <a:srgbClr val="EE5D5D"/>
      </a:accent4>
      <a:accent5>
        <a:srgbClr val="EA3F3F"/>
      </a:accent5>
      <a:accent6>
        <a:srgbClr val="D9D9D9"/>
      </a:accent6>
      <a:hlink>
        <a:srgbClr val="000000"/>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951</Words>
  <Application>Microsoft Macintosh PowerPoint</Application>
  <PresentationFormat>On-screen Show (4:3)</PresentationFormat>
  <Paragraphs>68</Paragraphs>
  <Slides>8</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Nunito Black</vt:lpstr>
      <vt:lpstr>Arial</vt:lpstr>
      <vt:lpstr>Bebas Neue</vt:lpstr>
      <vt:lpstr>Space Mono</vt:lpstr>
      <vt:lpstr>Nunito</vt:lpstr>
      <vt:lpstr>Asher Interactive Portfolio by Slidesgo</vt:lpstr>
      <vt:lpstr>think-cell Slide</vt:lpstr>
      <vt:lpstr>CivicsPolitical Capstone</vt:lpstr>
      <vt:lpstr>THE QUESTION</vt:lpstr>
      <vt:lpstr>WHY?</vt:lpstr>
      <vt:lpstr>DATA SOURCE</vt:lpstr>
      <vt:lpstr>METHODOLOGY</vt:lpstr>
      <vt:lpstr>METHODOLOGY</vt:lpstr>
      <vt:lpstr>METHODOLOGY</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vicsPolitical Capstone</dc:title>
  <cp:lastModifiedBy>EOSG</cp:lastModifiedBy>
  <cp:revision>1</cp:revision>
  <dcterms:modified xsi:type="dcterms:W3CDTF">2022-01-17T03:22:32Z</dcterms:modified>
</cp:coreProperties>
</file>